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60" r:id="rId4"/>
  </p:sldMasterIdLst>
  <p:notesMasterIdLst>
    <p:notesMasterId r:id="rId21"/>
  </p:notesMasterIdLst>
  <p:sldIdLst>
    <p:sldId id="297" r:id="rId5"/>
    <p:sldId id="313" r:id="rId6"/>
    <p:sldId id="321" r:id="rId7"/>
    <p:sldId id="300" r:id="rId8"/>
    <p:sldId id="302" r:id="rId9"/>
    <p:sldId id="306" r:id="rId10"/>
    <p:sldId id="316" r:id="rId11"/>
    <p:sldId id="314" r:id="rId12"/>
    <p:sldId id="315" r:id="rId13"/>
    <p:sldId id="307" r:id="rId14"/>
    <p:sldId id="305" r:id="rId15"/>
    <p:sldId id="318" r:id="rId16"/>
    <p:sldId id="309" r:id="rId17"/>
    <p:sldId id="320" r:id="rId18"/>
    <p:sldId id="319" r:id="rId19"/>
    <p:sldId id="301" r:id="rId20"/>
  </p:sldIdLst>
  <p:sldSz cx="9144000" cy="6858000" type="screen4x3"/>
  <p:notesSz cx="6858000" cy="9144000"/>
  <p:embeddedFontLst>
    <p:embeddedFont>
      <p:font typeface="Garamond" panose="02020404030301010803" pitchFamily="18" charset="0"/>
      <p:regular r:id="rId22"/>
      <p:bold r:id="rId23"/>
      <p:italic r:id="rId24"/>
    </p:embeddedFont>
    <p:embeddedFont>
      <p:font typeface="Source Sans Pro" panose="020B0503030403020204" pitchFamily="34" charset="0"/>
      <p:regular r:id="rId25"/>
      <p:bold r:id="rId26"/>
      <p:italic r:id="rId27"/>
      <p:boldItalic r:id="rId28"/>
    </p:embeddedFont>
    <p:embeddedFont>
      <p:font typeface="Source Sans Pro Bold" panose="020B0703030403020204" pitchFamily="34" charset="0"/>
      <p:bold r:id="rId29"/>
    </p:embeddedFont>
    <p:embeddedFont>
      <p:font typeface="Source Sans Pro Light" panose="020B0403030403020204" pitchFamily="34" charset="0"/>
      <p:regular r:id="rId30"/>
      <p:italic r:id="rId31"/>
    </p:embeddedFont>
  </p:embeddedFontLst>
  <p:custDataLst>
    <p:tags r:id="rId3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60" d="100"/>
          <a:sy n="60" d="100"/>
        </p:scale>
        <p:origin x="1460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5.fntdata"/><Relationship Id="rId21" Type="http://schemas.openxmlformats.org/officeDocument/2006/relationships/notesMaster" Target="notesMasters/notesMaster1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4.fntdata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3.fntdata"/><Relationship Id="rId32" Type="http://schemas.openxmlformats.org/officeDocument/2006/relationships/tags" Target="tags/tag1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10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ita Pauli" userId="6707f03c-27f5-4e35-b2d3-776fc492b423" providerId="ADAL" clId="{273CEBC1-E34A-4D89-B96F-A961DB97A2EE}"/>
    <pc:docChg chg="modSld">
      <pc:chgData name="Anita Pauli" userId="6707f03c-27f5-4e35-b2d3-776fc492b423" providerId="ADAL" clId="{273CEBC1-E34A-4D89-B96F-A961DB97A2EE}" dt="2025-09-22T13:55:23.400" v="36" actId="14100"/>
      <pc:docMkLst>
        <pc:docMk/>
      </pc:docMkLst>
      <pc:sldChg chg="modSp mod">
        <pc:chgData name="Anita Pauli" userId="6707f03c-27f5-4e35-b2d3-776fc492b423" providerId="ADAL" clId="{273CEBC1-E34A-4D89-B96F-A961DB97A2EE}" dt="2025-09-22T13:55:23.400" v="36" actId="14100"/>
        <pc:sldMkLst>
          <pc:docMk/>
          <pc:sldMk cId="3294177195" sldId="321"/>
        </pc:sldMkLst>
        <pc:spChg chg="mod">
          <ac:chgData name="Anita Pauli" userId="6707f03c-27f5-4e35-b2d3-776fc492b423" providerId="ADAL" clId="{273CEBC1-E34A-4D89-B96F-A961DB97A2EE}" dt="2025-09-22T13:55:23.400" v="36" actId="14100"/>
          <ac:spMkLst>
            <pc:docMk/>
            <pc:sldMk cId="3294177195" sldId="321"/>
            <ac:spMk id="6" creationId="{4DE90E96-B9AD-F43B-8BAF-6A8C2A27F8D9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33BAA6B-92AD-40F4-BE9D-36AECCB41929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4ACB22E-6717-4849-8E84-383ECBC8D990}">
      <dgm:prSet/>
      <dgm:spPr/>
      <dgm:t>
        <a:bodyPr/>
        <a:lstStyle/>
        <a:p>
          <a:r>
            <a:rPr lang="de-DE" dirty="0">
              <a:latin typeface="+mj-lt"/>
            </a:rPr>
            <a:t>Alle Unterrichtsinhalte in drei statt in zwei Jahren</a:t>
          </a:r>
        </a:p>
      </dgm:t>
    </dgm:pt>
    <dgm:pt modelId="{34B3CC9A-029B-4523-AEFD-24F2C461155E}" type="parTrans" cxnId="{5DF29E96-D24A-4FA2-82CF-B27C4A67B7BC}">
      <dgm:prSet/>
      <dgm:spPr/>
      <dgm:t>
        <a:bodyPr/>
        <a:lstStyle/>
        <a:p>
          <a:endParaRPr lang="de-DE"/>
        </a:p>
      </dgm:t>
    </dgm:pt>
    <dgm:pt modelId="{876F1E98-8F10-4D95-A287-E5F35FE44D15}" type="sibTrans" cxnId="{5DF29E96-D24A-4FA2-82CF-B27C4A67B7BC}">
      <dgm:prSet/>
      <dgm:spPr/>
      <dgm:t>
        <a:bodyPr/>
        <a:lstStyle/>
        <a:p>
          <a:endParaRPr lang="de-DE"/>
        </a:p>
      </dgm:t>
    </dgm:pt>
    <dgm:pt modelId="{AA35C9A6-E8EA-4910-BD61-58BAFCB91A95}">
      <dgm:prSet/>
      <dgm:spPr/>
      <dgm:t>
        <a:bodyPr/>
        <a:lstStyle/>
        <a:p>
          <a:r>
            <a:rPr lang="de-DE" dirty="0">
              <a:latin typeface="+mj-lt"/>
            </a:rPr>
            <a:t>Feste Schulzeiten an der </a:t>
          </a:r>
          <a:r>
            <a:rPr lang="de-DE" dirty="0" err="1">
              <a:latin typeface="+mj-lt"/>
            </a:rPr>
            <a:t>FakS</a:t>
          </a:r>
          <a:r>
            <a:rPr lang="de-DE" dirty="0">
              <a:latin typeface="+mj-lt"/>
            </a:rPr>
            <a:t> Maria Stern</a:t>
          </a:r>
        </a:p>
      </dgm:t>
    </dgm:pt>
    <dgm:pt modelId="{E94664FB-55A6-441B-AF50-E0E528AF6FA1}" type="parTrans" cxnId="{F6BC1BAD-E192-40FF-83EF-4AC6D561D7E6}">
      <dgm:prSet/>
      <dgm:spPr/>
      <dgm:t>
        <a:bodyPr/>
        <a:lstStyle/>
        <a:p>
          <a:endParaRPr lang="de-DE"/>
        </a:p>
      </dgm:t>
    </dgm:pt>
    <dgm:pt modelId="{F88F7D51-8D20-4ABE-A18E-06EA063BADD1}" type="sibTrans" cxnId="{F6BC1BAD-E192-40FF-83EF-4AC6D561D7E6}">
      <dgm:prSet/>
      <dgm:spPr/>
      <dgm:t>
        <a:bodyPr/>
        <a:lstStyle/>
        <a:p>
          <a:endParaRPr lang="de-DE"/>
        </a:p>
      </dgm:t>
    </dgm:pt>
    <dgm:pt modelId="{4C13AAB1-668F-4D63-9891-F2BDDAF3452E}">
      <dgm:prSet/>
      <dgm:spPr/>
      <dgm:t>
        <a:bodyPr/>
        <a:lstStyle/>
        <a:p>
          <a:r>
            <a:rPr lang="de-DE" dirty="0">
              <a:latin typeface="+mj-lt"/>
            </a:rPr>
            <a:t>Berufsbegleitend </a:t>
          </a:r>
          <a:r>
            <a:rPr lang="de-DE" b="1" dirty="0">
              <a:latin typeface="+mj-lt"/>
            </a:rPr>
            <a:t>oder</a:t>
          </a:r>
          <a:r>
            <a:rPr lang="de-DE" dirty="0">
              <a:latin typeface="+mj-lt"/>
            </a:rPr>
            <a:t> mit begleitenden Praktika</a:t>
          </a:r>
        </a:p>
      </dgm:t>
    </dgm:pt>
    <dgm:pt modelId="{F1382285-20EC-48F9-A611-63E7BF8AE825}" type="parTrans" cxnId="{6EA40829-237A-4F31-A2F6-322E6F130B69}">
      <dgm:prSet/>
      <dgm:spPr/>
      <dgm:t>
        <a:bodyPr/>
        <a:lstStyle/>
        <a:p>
          <a:endParaRPr lang="de-DE"/>
        </a:p>
      </dgm:t>
    </dgm:pt>
    <dgm:pt modelId="{72D0DD13-5F71-4BE7-B405-731EDA554F76}" type="sibTrans" cxnId="{6EA40829-237A-4F31-A2F6-322E6F130B69}">
      <dgm:prSet/>
      <dgm:spPr/>
      <dgm:t>
        <a:bodyPr/>
        <a:lstStyle/>
        <a:p>
          <a:endParaRPr lang="de-DE"/>
        </a:p>
      </dgm:t>
    </dgm:pt>
    <dgm:pt modelId="{E90450C2-12B1-4608-96A0-B9EE82FE1F14}">
      <dgm:prSet/>
      <dgm:spPr/>
      <dgm:t>
        <a:bodyPr/>
        <a:lstStyle/>
        <a:p>
          <a:r>
            <a:rPr lang="de-DE" dirty="0">
              <a:latin typeface="+mj-lt"/>
            </a:rPr>
            <a:t>Betreuung durch die Praxisdozierenden der </a:t>
          </a:r>
          <a:r>
            <a:rPr lang="de-DE" dirty="0" err="1">
              <a:latin typeface="+mj-lt"/>
            </a:rPr>
            <a:t>FakS</a:t>
          </a:r>
          <a:endParaRPr lang="de-DE" dirty="0">
            <a:latin typeface="+mj-lt"/>
          </a:endParaRPr>
        </a:p>
      </dgm:t>
    </dgm:pt>
    <dgm:pt modelId="{0E8EA02D-D409-4B74-9E77-DEEAEE83C434}" type="parTrans" cxnId="{1954B208-78B0-4EFB-97A5-601C560715C3}">
      <dgm:prSet/>
      <dgm:spPr/>
      <dgm:t>
        <a:bodyPr/>
        <a:lstStyle/>
        <a:p>
          <a:endParaRPr lang="de-DE"/>
        </a:p>
      </dgm:t>
    </dgm:pt>
    <dgm:pt modelId="{0AC3BA8B-E88E-4A27-8773-A5ABDC2DD557}" type="sibTrans" cxnId="{1954B208-78B0-4EFB-97A5-601C560715C3}">
      <dgm:prSet/>
      <dgm:spPr/>
      <dgm:t>
        <a:bodyPr/>
        <a:lstStyle/>
        <a:p>
          <a:endParaRPr lang="de-DE"/>
        </a:p>
      </dgm:t>
    </dgm:pt>
    <dgm:pt modelId="{61A0C5DF-ACE2-48D6-8FB8-377CF0AB4F24}" type="pres">
      <dgm:prSet presAssocID="{333BAA6B-92AD-40F4-BE9D-36AECCB41929}" presName="Name0" presStyleCnt="0">
        <dgm:presLayoutVars>
          <dgm:chMax val="7"/>
          <dgm:chPref val="7"/>
          <dgm:dir/>
        </dgm:presLayoutVars>
      </dgm:prSet>
      <dgm:spPr/>
    </dgm:pt>
    <dgm:pt modelId="{572CA787-1D8A-4E1E-ABAA-EB05F4A0A7DA}" type="pres">
      <dgm:prSet presAssocID="{333BAA6B-92AD-40F4-BE9D-36AECCB41929}" presName="Name1" presStyleCnt="0"/>
      <dgm:spPr/>
    </dgm:pt>
    <dgm:pt modelId="{1908D60B-5873-4F9A-A45E-49C423509E36}" type="pres">
      <dgm:prSet presAssocID="{333BAA6B-92AD-40F4-BE9D-36AECCB41929}" presName="cycle" presStyleCnt="0"/>
      <dgm:spPr/>
    </dgm:pt>
    <dgm:pt modelId="{5F4D14CD-96D3-47F2-802E-9D72FAED9FE7}" type="pres">
      <dgm:prSet presAssocID="{333BAA6B-92AD-40F4-BE9D-36AECCB41929}" presName="srcNode" presStyleLbl="node1" presStyleIdx="0" presStyleCnt="4"/>
      <dgm:spPr/>
    </dgm:pt>
    <dgm:pt modelId="{1526DE68-82DA-4807-9C47-69B26ED010BE}" type="pres">
      <dgm:prSet presAssocID="{333BAA6B-92AD-40F4-BE9D-36AECCB41929}" presName="conn" presStyleLbl="parChTrans1D2" presStyleIdx="0" presStyleCnt="1"/>
      <dgm:spPr/>
    </dgm:pt>
    <dgm:pt modelId="{D3B3EF8B-A001-463D-9032-A7B8EC06FDF0}" type="pres">
      <dgm:prSet presAssocID="{333BAA6B-92AD-40F4-BE9D-36AECCB41929}" presName="extraNode" presStyleLbl="node1" presStyleIdx="0" presStyleCnt="4"/>
      <dgm:spPr/>
    </dgm:pt>
    <dgm:pt modelId="{2EE6F17F-4C3A-4E0F-A140-7888611FDFCC}" type="pres">
      <dgm:prSet presAssocID="{333BAA6B-92AD-40F4-BE9D-36AECCB41929}" presName="dstNode" presStyleLbl="node1" presStyleIdx="0" presStyleCnt="4"/>
      <dgm:spPr/>
    </dgm:pt>
    <dgm:pt modelId="{2C7D7605-0526-4058-9C34-74D864DBD232}" type="pres">
      <dgm:prSet presAssocID="{74ACB22E-6717-4849-8E84-383ECBC8D990}" presName="text_1" presStyleLbl="node1" presStyleIdx="0" presStyleCnt="4">
        <dgm:presLayoutVars>
          <dgm:bulletEnabled val="1"/>
        </dgm:presLayoutVars>
      </dgm:prSet>
      <dgm:spPr/>
    </dgm:pt>
    <dgm:pt modelId="{AB284FC7-B656-4086-8657-B75896695B78}" type="pres">
      <dgm:prSet presAssocID="{74ACB22E-6717-4849-8E84-383ECBC8D990}" presName="accent_1" presStyleCnt="0"/>
      <dgm:spPr/>
    </dgm:pt>
    <dgm:pt modelId="{4A6AECB8-DE79-483E-BC53-748E5B7FAC3A}" type="pres">
      <dgm:prSet presAssocID="{74ACB22E-6717-4849-8E84-383ECBC8D990}" presName="accentRepeatNode" presStyleLbl="solidFgAcc1" presStyleIdx="0" presStyleCnt="4"/>
      <dgm:spPr/>
    </dgm:pt>
    <dgm:pt modelId="{66ECCC7D-DA94-44C1-9FBD-60DF17CC3E87}" type="pres">
      <dgm:prSet presAssocID="{AA35C9A6-E8EA-4910-BD61-58BAFCB91A95}" presName="text_2" presStyleLbl="node1" presStyleIdx="1" presStyleCnt="4" custLinFactNeighborX="-146">
        <dgm:presLayoutVars>
          <dgm:bulletEnabled val="1"/>
        </dgm:presLayoutVars>
      </dgm:prSet>
      <dgm:spPr/>
    </dgm:pt>
    <dgm:pt modelId="{C50C7560-A1CE-4095-90F0-EF1B73DBC086}" type="pres">
      <dgm:prSet presAssocID="{AA35C9A6-E8EA-4910-BD61-58BAFCB91A95}" presName="accent_2" presStyleCnt="0"/>
      <dgm:spPr/>
    </dgm:pt>
    <dgm:pt modelId="{CF31A6B4-BC79-4CBA-931D-D303676B4F73}" type="pres">
      <dgm:prSet presAssocID="{AA35C9A6-E8EA-4910-BD61-58BAFCB91A95}" presName="accentRepeatNode" presStyleLbl="solidFgAcc1" presStyleIdx="1" presStyleCnt="4"/>
      <dgm:spPr/>
    </dgm:pt>
    <dgm:pt modelId="{C87655DB-B077-4362-A62B-49CD33E25BC8}" type="pres">
      <dgm:prSet presAssocID="{4C13AAB1-668F-4D63-9891-F2BDDAF3452E}" presName="text_3" presStyleLbl="node1" presStyleIdx="2" presStyleCnt="4">
        <dgm:presLayoutVars>
          <dgm:bulletEnabled val="1"/>
        </dgm:presLayoutVars>
      </dgm:prSet>
      <dgm:spPr/>
    </dgm:pt>
    <dgm:pt modelId="{097FC5C0-DDDE-4BFB-BBCF-F289060C7FF2}" type="pres">
      <dgm:prSet presAssocID="{4C13AAB1-668F-4D63-9891-F2BDDAF3452E}" presName="accent_3" presStyleCnt="0"/>
      <dgm:spPr/>
    </dgm:pt>
    <dgm:pt modelId="{9416AFE2-1B27-4592-A127-960A03EE1C75}" type="pres">
      <dgm:prSet presAssocID="{4C13AAB1-668F-4D63-9891-F2BDDAF3452E}" presName="accentRepeatNode" presStyleLbl="solidFgAcc1" presStyleIdx="2" presStyleCnt="4"/>
      <dgm:spPr/>
    </dgm:pt>
    <dgm:pt modelId="{730898B3-A6A6-48B5-ADD1-BCA2D6AE9D4D}" type="pres">
      <dgm:prSet presAssocID="{E90450C2-12B1-4608-96A0-B9EE82FE1F14}" presName="text_4" presStyleLbl="node1" presStyleIdx="3" presStyleCnt="4">
        <dgm:presLayoutVars>
          <dgm:bulletEnabled val="1"/>
        </dgm:presLayoutVars>
      </dgm:prSet>
      <dgm:spPr/>
    </dgm:pt>
    <dgm:pt modelId="{8388402F-1098-4043-92F9-B79176FB03AC}" type="pres">
      <dgm:prSet presAssocID="{E90450C2-12B1-4608-96A0-B9EE82FE1F14}" presName="accent_4" presStyleCnt="0"/>
      <dgm:spPr/>
    </dgm:pt>
    <dgm:pt modelId="{7C8D4CD5-A7DB-4261-8E5D-EB0E54D2F63D}" type="pres">
      <dgm:prSet presAssocID="{E90450C2-12B1-4608-96A0-B9EE82FE1F14}" presName="accentRepeatNode" presStyleLbl="solidFgAcc1" presStyleIdx="3" presStyleCnt="4"/>
      <dgm:spPr/>
    </dgm:pt>
  </dgm:ptLst>
  <dgm:cxnLst>
    <dgm:cxn modelId="{1954B208-78B0-4EFB-97A5-601C560715C3}" srcId="{333BAA6B-92AD-40F4-BE9D-36AECCB41929}" destId="{E90450C2-12B1-4608-96A0-B9EE82FE1F14}" srcOrd="3" destOrd="0" parTransId="{0E8EA02D-D409-4B74-9E77-DEEAEE83C434}" sibTransId="{0AC3BA8B-E88E-4A27-8773-A5ABDC2DD557}"/>
    <dgm:cxn modelId="{6EA40829-237A-4F31-A2F6-322E6F130B69}" srcId="{333BAA6B-92AD-40F4-BE9D-36AECCB41929}" destId="{4C13AAB1-668F-4D63-9891-F2BDDAF3452E}" srcOrd="2" destOrd="0" parTransId="{F1382285-20EC-48F9-A611-63E7BF8AE825}" sibTransId="{72D0DD13-5F71-4BE7-B405-731EDA554F76}"/>
    <dgm:cxn modelId="{7E84C76A-5178-438A-849C-1A8E9CD8016E}" type="presOf" srcId="{74ACB22E-6717-4849-8E84-383ECBC8D990}" destId="{2C7D7605-0526-4058-9C34-74D864DBD232}" srcOrd="0" destOrd="0" presId="urn:microsoft.com/office/officeart/2008/layout/VerticalCurvedList"/>
    <dgm:cxn modelId="{4E969891-7D23-4334-A4D7-7F7204460B62}" type="presOf" srcId="{AA35C9A6-E8EA-4910-BD61-58BAFCB91A95}" destId="{66ECCC7D-DA94-44C1-9FBD-60DF17CC3E87}" srcOrd="0" destOrd="0" presId="urn:microsoft.com/office/officeart/2008/layout/VerticalCurvedList"/>
    <dgm:cxn modelId="{5DF29E96-D24A-4FA2-82CF-B27C4A67B7BC}" srcId="{333BAA6B-92AD-40F4-BE9D-36AECCB41929}" destId="{74ACB22E-6717-4849-8E84-383ECBC8D990}" srcOrd="0" destOrd="0" parTransId="{34B3CC9A-029B-4523-AEFD-24F2C461155E}" sibTransId="{876F1E98-8F10-4D95-A287-E5F35FE44D15}"/>
    <dgm:cxn modelId="{B6C62CA4-2E71-40E7-A9B3-8D975FBE9386}" type="presOf" srcId="{4C13AAB1-668F-4D63-9891-F2BDDAF3452E}" destId="{C87655DB-B077-4362-A62B-49CD33E25BC8}" srcOrd="0" destOrd="0" presId="urn:microsoft.com/office/officeart/2008/layout/VerticalCurvedList"/>
    <dgm:cxn modelId="{6D435DAB-5196-454B-8504-C07F9A8784C1}" type="presOf" srcId="{333BAA6B-92AD-40F4-BE9D-36AECCB41929}" destId="{61A0C5DF-ACE2-48D6-8FB8-377CF0AB4F24}" srcOrd="0" destOrd="0" presId="urn:microsoft.com/office/officeart/2008/layout/VerticalCurvedList"/>
    <dgm:cxn modelId="{F6BC1BAD-E192-40FF-83EF-4AC6D561D7E6}" srcId="{333BAA6B-92AD-40F4-BE9D-36AECCB41929}" destId="{AA35C9A6-E8EA-4910-BD61-58BAFCB91A95}" srcOrd="1" destOrd="0" parTransId="{E94664FB-55A6-441B-AF50-E0E528AF6FA1}" sibTransId="{F88F7D51-8D20-4ABE-A18E-06EA063BADD1}"/>
    <dgm:cxn modelId="{D728B0E3-21A2-46BF-9940-E75B2F65D8F4}" type="presOf" srcId="{E90450C2-12B1-4608-96A0-B9EE82FE1F14}" destId="{730898B3-A6A6-48B5-ADD1-BCA2D6AE9D4D}" srcOrd="0" destOrd="0" presId="urn:microsoft.com/office/officeart/2008/layout/VerticalCurvedList"/>
    <dgm:cxn modelId="{C8016DFC-C69B-4C9A-8A15-5D3CE42FABD4}" type="presOf" srcId="{876F1E98-8F10-4D95-A287-E5F35FE44D15}" destId="{1526DE68-82DA-4807-9C47-69B26ED010BE}" srcOrd="0" destOrd="0" presId="urn:microsoft.com/office/officeart/2008/layout/VerticalCurvedList"/>
    <dgm:cxn modelId="{72F545B9-6106-4444-9119-B5C932A51C92}" type="presParOf" srcId="{61A0C5DF-ACE2-48D6-8FB8-377CF0AB4F24}" destId="{572CA787-1D8A-4E1E-ABAA-EB05F4A0A7DA}" srcOrd="0" destOrd="0" presId="urn:microsoft.com/office/officeart/2008/layout/VerticalCurvedList"/>
    <dgm:cxn modelId="{CCDD8FE4-8308-425D-AC39-C7D9CEC153B2}" type="presParOf" srcId="{572CA787-1D8A-4E1E-ABAA-EB05F4A0A7DA}" destId="{1908D60B-5873-4F9A-A45E-49C423509E36}" srcOrd="0" destOrd="0" presId="urn:microsoft.com/office/officeart/2008/layout/VerticalCurvedList"/>
    <dgm:cxn modelId="{E4B96321-A914-4878-819B-2270874CE694}" type="presParOf" srcId="{1908D60B-5873-4F9A-A45E-49C423509E36}" destId="{5F4D14CD-96D3-47F2-802E-9D72FAED9FE7}" srcOrd="0" destOrd="0" presId="urn:microsoft.com/office/officeart/2008/layout/VerticalCurvedList"/>
    <dgm:cxn modelId="{8868FDD2-39F0-4FF3-8C59-E009B0D62961}" type="presParOf" srcId="{1908D60B-5873-4F9A-A45E-49C423509E36}" destId="{1526DE68-82DA-4807-9C47-69B26ED010BE}" srcOrd="1" destOrd="0" presId="urn:microsoft.com/office/officeart/2008/layout/VerticalCurvedList"/>
    <dgm:cxn modelId="{EF711C65-58A6-4A3D-8303-7E93995A0160}" type="presParOf" srcId="{1908D60B-5873-4F9A-A45E-49C423509E36}" destId="{D3B3EF8B-A001-463D-9032-A7B8EC06FDF0}" srcOrd="2" destOrd="0" presId="urn:microsoft.com/office/officeart/2008/layout/VerticalCurvedList"/>
    <dgm:cxn modelId="{E34A62A2-826C-40A0-843D-AE1E419B279B}" type="presParOf" srcId="{1908D60B-5873-4F9A-A45E-49C423509E36}" destId="{2EE6F17F-4C3A-4E0F-A140-7888611FDFCC}" srcOrd="3" destOrd="0" presId="urn:microsoft.com/office/officeart/2008/layout/VerticalCurvedList"/>
    <dgm:cxn modelId="{9997E5A0-1608-4C5C-A686-07917CF10E0C}" type="presParOf" srcId="{572CA787-1D8A-4E1E-ABAA-EB05F4A0A7DA}" destId="{2C7D7605-0526-4058-9C34-74D864DBD232}" srcOrd="1" destOrd="0" presId="urn:microsoft.com/office/officeart/2008/layout/VerticalCurvedList"/>
    <dgm:cxn modelId="{975004B0-4830-4CDD-B95D-9AB4E98B405E}" type="presParOf" srcId="{572CA787-1D8A-4E1E-ABAA-EB05F4A0A7DA}" destId="{AB284FC7-B656-4086-8657-B75896695B78}" srcOrd="2" destOrd="0" presId="urn:microsoft.com/office/officeart/2008/layout/VerticalCurvedList"/>
    <dgm:cxn modelId="{C89A1AB0-4BC2-4DE8-98F7-D84E213E0457}" type="presParOf" srcId="{AB284FC7-B656-4086-8657-B75896695B78}" destId="{4A6AECB8-DE79-483E-BC53-748E5B7FAC3A}" srcOrd="0" destOrd="0" presId="urn:microsoft.com/office/officeart/2008/layout/VerticalCurvedList"/>
    <dgm:cxn modelId="{FBD3118C-5904-41B1-8F1A-159334A6F6A0}" type="presParOf" srcId="{572CA787-1D8A-4E1E-ABAA-EB05F4A0A7DA}" destId="{66ECCC7D-DA94-44C1-9FBD-60DF17CC3E87}" srcOrd="3" destOrd="0" presId="urn:microsoft.com/office/officeart/2008/layout/VerticalCurvedList"/>
    <dgm:cxn modelId="{0751CEA8-10FF-43DC-BB86-FE8971059CBA}" type="presParOf" srcId="{572CA787-1D8A-4E1E-ABAA-EB05F4A0A7DA}" destId="{C50C7560-A1CE-4095-90F0-EF1B73DBC086}" srcOrd="4" destOrd="0" presId="urn:microsoft.com/office/officeart/2008/layout/VerticalCurvedList"/>
    <dgm:cxn modelId="{214F1E30-66D0-4ECD-BADD-EEABCE36E594}" type="presParOf" srcId="{C50C7560-A1CE-4095-90F0-EF1B73DBC086}" destId="{CF31A6B4-BC79-4CBA-931D-D303676B4F73}" srcOrd="0" destOrd="0" presId="urn:microsoft.com/office/officeart/2008/layout/VerticalCurvedList"/>
    <dgm:cxn modelId="{C2BB767A-8349-42DD-9E0B-84A1E9E7C24E}" type="presParOf" srcId="{572CA787-1D8A-4E1E-ABAA-EB05F4A0A7DA}" destId="{C87655DB-B077-4362-A62B-49CD33E25BC8}" srcOrd="5" destOrd="0" presId="urn:microsoft.com/office/officeart/2008/layout/VerticalCurvedList"/>
    <dgm:cxn modelId="{A0BFECC4-8BE2-4D14-859E-A87E516A9A33}" type="presParOf" srcId="{572CA787-1D8A-4E1E-ABAA-EB05F4A0A7DA}" destId="{097FC5C0-DDDE-4BFB-BBCF-F289060C7FF2}" srcOrd="6" destOrd="0" presId="urn:microsoft.com/office/officeart/2008/layout/VerticalCurvedList"/>
    <dgm:cxn modelId="{E6FBF239-42CB-4134-836F-4786FB9A7758}" type="presParOf" srcId="{097FC5C0-DDDE-4BFB-BBCF-F289060C7FF2}" destId="{9416AFE2-1B27-4592-A127-960A03EE1C75}" srcOrd="0" destOrd="0" presId="urn:microsoft.com/office/officeart/2008/layout/VerticalCurvedList"/>
    <dgm:cxn modelId="{53121AAE-26E6-47EF-BCB7-E40CD8699E14}" type="presParOf" srcId="{572CA787-1D8A-4E1E-ABAA-EB05F4A0A7DA}" destId="{730898B3-A6A6-48B5-ADD1-BCA2D6AE9D4D}" srcOrd="7" destOrd="0" presId="urn:microsoft.com/office/officeart/2008/layout/VerticalCurvedList"/>
    <dgm:cxn modelId="{5EB479AB-7FA5-40C1-A401-B8A3B007DE6B}" type="presParOf" srcId="{572CA787-1D8A-4E1E-ABAA-EB05F4A0A7DA}" destId="{8388402F-1098-4043-92F9-B79176FB03AC}" srcOrd="8" destOrd="0" presId="urn:microsoft.com/office/officeart/2008/layout/VerticalCurvedList"/>
    <dgm:cxn modelId="{045E6685-B93B-464C-83FE-999A7321FF71}" type="presParOf" srcId="{8388402F-1098-4043-92F9-B79176FB03AC}" destId="{7C8D4CD5-A7DB-4261-8E5D-EB0E54D2F63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D831D9E-9B25-4DA9-A616-C2DE46D7F619}" type="doc">
      <dgm:prSet loTypeId="urn:microsoft.com/office/officeart/2005/8/layout/process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234A377-1E15-4A4E-BAA7-66FEF3BA9CCF}">
      <dgm:prSet phldrT="[Text]" custT="1"/>
      <dgm:spPr/>
      <dgm:t>
        <a:bodyPr/>
        <a:lstStyle/>
        <a:p>
          <a:r>
            <a:rPr lang="de-DE" sz="1600" b="1" dirty="0">
              <a:latin typeface="Source Sans Pro Light (Überschriften)"/>
            </a:rPr>
            <a:t>200 Stunden Praktikum in einer sozialpädagogischen Einrichtung / eigene Familienzeit  / Quereinstieg mit Ausbildung</a:t>
          </a:r>
        </a:p>
      </dgm:t>
    </dgm:pt>
    <dgm:pt modelId="{63575E52-2F85-4B25-A41F-5F2A9AC1A85B}" type="parTrans" cxnId="{43BCFF32-5DD4-496C-A491-68F49862EFD1}">
      <dgm:prSet/>
      <dgm:spPr/>
      <dgm:t>
        <a:bodyPr/>
        <a:lstStyle/>
        <a:p>
          <a:endParaRPr lang="de-DE"/>
        </a:p>
      </dgm:t>
    </dgm:pt>
    <dgm:pt modelId="{C9B3AB5A-5C13-4298-972B-C84C77B629A1}" type="sibTrans" cxnId="{43BCFF32-5DD4-496C-A491-68F49862EFD1}">
      <dgm:prSet/>
      <dgm:spPr/>
      <dgm:t>
        <a:bodyPr/>
        <a:lstStyle/>
        <a:p>
          <a:endParaRPr lang="de-DE"/>
        </a:p>
      </dgm:t>
    </dgm:pt>
    <dgm:pt modelId="{A318749F-AB13-4474-9917-94C4525F47A4}">
      <dgm:prSet phldrT="[Text]" custT="1"/>
      <dgm:spPr/>
      <dgm:t>
        <a:bodyPr/>
        <a:lstStyle/>
        <a:p>
          <a:r>
            <a:rPr lang="de-DE" sz="1600" b="1" dirty="0">
              <a:latin typeface="Source Sans Pro Light (Überschriften)"/>
            </a:rPr>
            <a:t>Drei Jahre Teilzeitunterricht                    </a:t>
          </a:r>
        </a:p>
        <a:p>
          <a:r>
            <a:rPr lang="de-DE" sz="1600" dirty="0">
              <a:latin typeface="Source Sans Pro Light (Überschriften)"/>
            </a:rPr>
            <a:t>an der Fachakademie Maria Stern</a:t>
          </a:r>
        </a:p>
      </dgm:t>
    </dgm:pt>
    <dgm:pt modelId="{888B4AEB-85AE-4FCF-BB0C-49D1B9CCAD02}" type="parTrans" cxnId="{13E1A680-A0CC-4552-A974-A7FACE3EBD7E}">
      <dgm:prSet/>
      <dgm:spPr/>
      <dgm:t>
        <a:bodyPr/>
        <a:lstStyle/>
        <a:p>
          <a:endParaRPr lang="de-DE"/>
        </a:p>
      </dgm:t>
    </dgm:pt>
    <dgm:pt modelId="{4A4C3212-B664-40A5-A09E-523B40E448D8}" type="sibTrans" cxnId="{13E1A680-A0CC-4552-A974-A7FACE3EBD7E}">
      <dgm:prSet/>
      <dgm:spPr/>
      <dgm:t>
        <a:bodyPr/>
        <a:lstStyle/>
        <a:p>
          <a:endParaRPr lang="de-DE"/>
        </a:p>
      </dgm:t>
    </dgm:pt>
    <dgm:pt modelId="{421D4921-1856-485B-8E8A-60DC8327559A}">
      <dgm:prSet phldrT="[Text]" custT="1"/>
      <dgm:spPr/>
      <dgm:t>
        <a:bodyPr/>
        <a:lstStyle/>
        <a:p>
          <a:r>
            <a:rPr lang="de-DE" sz="1600" dirty="0">
              <a:latin typeface="Source Sans Pro Light (Überschriften)"/>
            </a:rPr>
            <a:t>Berufsbegleitend </a:t>
          </a:r>
          <a:endParaRPr lang="de-DE" sz="2700" dirty="0">
            <a:latin typeface="Source Sans Pro Light (Überschriften)"/>
          </a:endParaRPr>
        </a:p>
      </dgm:t>
    </dgm:pt>
    <dgm:pt modelId="{8697527D-B6D1-4231-8B72-3F7BF1DC269B}" type="parTrans" cxnId="{9A82AF52-1591-45BD-8DF6-9C53C138EEFD}">
      <dgm:prSet/>
      <dgm:spPr/>
      <dgm:t>
        <a:bodyPr/>
        <a:lstStyle/>
        <a:p>
          <a:endParaRPr lang="de-DE"/>
        </a:p>
      </dgm:t>
    </dgm:pt>
    <dgm:pt modelId="{938BD294-73D6-4911-9B5C-D7A92417432F}" type="sibTrans" cxnId="{9A82AF52-1591-45BD-8DF6-9C53C138EEFD}">
      <dgm:prSet/>
      <dgm:spPr/>
      <dgm:t>
        <a:bodyPr/>
        <a:lstStyle/>
        <a:p>
          <a:endParaRPr lang="de-DE"/>
        </a:p>
      </dgm:t>
    </dgm:pt>
    <dgm:pt modelId="{A8F71D99-479D-40A1-A270-B759EED7F9CA}">
      <dgm:prSet phldrT="[Text]" custT="1"/>
      <dgm:spPr/>
      <dgm:t>
        <a:bodyPr/>
        <a:lstStyle/>
        <a:p>
          <a:r>
            <a:rPr lang="de-DE" sz="1600" dirty="0">
              <a:latin typeface="Source Sans Pro Light (Überschriften)"/>
            </a:rPr>
            <a:t>Mit begleitenden Praktika </a:t>
          </a:r>
        </a:p>
      </dgm:t>
    </dgm:pt>
    <dgm:pt modelId="{1D83C2FF-E2C1-4B28-B50C-B1810FA429E1}" type="parTrans" cxnId="{1CDCB4C1-1E3D-4810-BA9F-E845E86B4A32}">
      <dgm:prSet/>
      <dgm:spPr/>
      <dgm:t>
        <a:bodyPr/>
        <a:lstStyle/>
        <a:p>
          <a:endParaRPr lang="de-DE"/>
        </a:p>
      </dgm:t>
    </dgm:pt>
    <dgm:pt modelId="{75C9E682-9AD9-4CDC-B994-B96011319D7E}" type="sibTrans" cxnId="{1CDCB4C1-1E3D-4810-BA9F-E845E86B4A32}">
      <dgm:prSet/>
      <dgm:spPr/>
      <dgm:t>
        <a:bodyPr/>
        <a:lstStyle/>
        <a:p>
          <a:endParaRPr lang="de-DE"/>
        </a:p>
      </dgm:t>
    </dgm:pt>
    <dgm:pt modelId="{48F60E74-6420-4906-886B-2616120E2E9F}">
      <dgm:prSet phldrT="[Text]" custT="1"/>
      <dgm:spPr/>
      <dgm:t>
        <a:bodyPr/>
        <a:lstStyle/>
        <a:p>
          <a:r>
            <a:rPr lang="de-DE" sz="1600" b="1" dirty="0">
              <a:latin typeface="Source Sans Pro Light (Überschriften)"/>
            </a:rPr>
            <a:t>Berufspraktikum</a:t>
          </a:r>
          <a:r>
            <a:rPr lang="de-DE" sz="1900" dirty="0"/>
            <a:t> </a:t>
          </a:r>
        </a:p>
      </dgm:t>
    </dgm:pt>
    <dgm:pt modelId="{778B3B53-0B50-4EF6-92A8-474CE5E23AD3}" type="parTrans" cxnId="{E5AEBE12-2D70-445C-9C73-F4B6F3D717A3}">
      <dgm:prSet/>
      <dgm:spPr/>
      <dgm:t>
        <a:bodyPr/>
        <a:lstStyle/>
        <a:p>
          <a:endParaRPr lang="de-DE"/>
        </a:p>
      </dgm:t>
    </dgm:pt>
    <dgm:pt modelId="{A5435760-AD22-4B66-81D3-4605341F3860}" type="sibTrans" cxnId="{E5AEBE12-2D70-445C-9C73-F4B6F3D717A3}">
      <dgm:prSet/>
      <dgm:spPr/>
      <dgm:t>
        <a:bodyPr/>
        <a:lstStyle/>
        <a:p>
          <a:endParaRPr lang="de-DE"/>
        </a:p>
      </dgm:t>
    </dgm:pt>
    <dgm:pt modelId="{6BC7A15F-86B4-4DDF-B5A4-9D8E407BF401}">
      <dgm:prSet phldrT="[Text]" custT="1"/>
      <dgm:spPr/>
      <dgm:t>
        <a:bodyPr/>
        <a:lstStyle/>
        <a:p>
          <a:r>
            <a:rPr lang="de-DE" sz="1600" dirty="0">
              <a:latin typeface="Source Sans Pro Light (Überschriften)"/>
            </a:rPr>
            <a:t>Ein Jahr in einer sozialpädagogischen Einrichtung und Seminartage an der Fachakademie Maria Stern </a:t>
          </a:r>
        </a:p>
      </dgm:t>
    </dgm:pt>
    <dgm:pt modelId="{08CF598C-45B8-4558-B645-0EF537A31AA7}" type="parTrans" cxnId="{1DF7E02D-9742-48C2-8118-D355796E472F}">
      <dgm:prSet/>
      <dgm:spPr/>
      <dgm:t>
        <a:bodyPr/>
        <a:lstStyle/>
        <a:p>
          <a:endParaRPr lang="de-DE"/>
        </a:p>
      </dgm:t>
    </dgm:pt>
    <dgm:pt modelId="{BAB2EB1B-4A54-4E00-BDBE-D9F5DF5B4987}" type="sibTrans" cxnId="{1DF7E02D-9742-48C2-8118-D355796E472F}">
      <dgm:prSet/>
      <dgm:spPr/>
      <dgm:t>
        <a:bodyPr/>
        <a:lstStyle/>
        <a:p>
          <a:endParaRPr lang="de-DE"/>
        </a:p>
      </dgm:t>
    </dgm:pt>
    <dgm:pt modelId="{229314C5-2E4F-43AE-9BBC-B5F1EE901EC6}">
      <dgm:prSet phldrT="[Text]" custT="1"/>
      <dgm:spPr/>
      <dgm:t>
        <a:bodyPr/>
        <a:lstStyle/>
        <a:p>
          <a:r>
            <a:rPr lang="de-DE" sz="1600">
              <a:latin typeface="Source Sans Pro Light (Überschriften)"/>
            </a:rPr>
            <a:t>vor </a:t>
          </a:r>
          <a:r>
            <a:rPr lang="de-DE" sz="1600" dirty="0">
              <a:latin typeface="Source Sans Pro Light (Überschriften)"/>
            </a:rPr>
            <a:t>Ausbildungsbeginn </a:t>
          </a:r>
        </a:p>
      </dgm:t>
    </dgm:pt>
    <dgm:pt modelId="{9C7BE047-E2B0-434D-8448-8E1D5097D8DD}" type="sibTrans" cxnId="{DD37F7E2-D88B-4C2E-B6E0-6BB8F501304C}">
      <dgm:prSet/>
      <dgm:spPr/>
      <dgm:t>
        <a:bodyPr/>
        <a:lstStyle/>
        <a:p>
          <a:endParaRPr lang="de-DE"/>
        </a:p>
      </dgm:t>
    </dgm:pt>
    <dgm:pt modelId="{1948A8CC-E9F4-436D-BD73-55C1EFB86205}" type="parTrans" cxnId="{DD37F7E2-D88B-4C2E-B6E0-6BB8F501304C}">
      <dgm:prSet/>
      <dgm:spPr/>
      <dgm:t>
        <a:bodyPr/>
        <a:lstStyle/>
        <a:p>
          <a:endParaRPr lang="de-DE"/>
        </a:p>
      </dgm:t>
    </dgm:pt>
    <dgm:pt modelId="{B035118D-1B72-45D7-9BC6-7CA051ADE17F}" type="pres">
      <dgm:prSet presAssocID="{5D831D9E-9B25-4DA9-A616-C2DE46D7F619}" presName="Name0" presStyleCnt="0">
        <dgm:presLayoutVars>
          <dgm:dir/>
          <dgm:animLvl val="lvl"/>
          <dgm:resizeHandles val="exact"/>
        </dgm:presLayoutVars>
      </dgm:prSet>
      <dgm:spPr/>
    </dgm:pt>
    <dgm:pt modelId="{51388CFF-00E2-45C7-B284-413FA4CA4D89}" type="pres">
      <dgm:prSet presAssocID="{48F60E74-6420-4906-886B-2616120E2E9F}" presName="boxAndChildren" presStyleCnt="0"/>
      <dgm:spPr/>
    </dgm:pt>
    <dgm:pt modelId="{8D897CF9-C0FF-41E6-BBB3-D3EF5CDFBB7F}" type="pres">
      <dgm:prSet presAssocID="{48F60E74-6420-4906-886B-2616120E2E9F}" presName="parentTextBox" presStyleLbl="node1" presStyleIdx="0" presStyleCnt="3"/>
      <dgm:spPr/>
    </dgm:pt>
    <dgm:pt modelId="{B7D109C6-5D8F-49A2-A34F-BD0870C98C33}" type="pres">
      <dgm:prSet presAssocID="{48F60E74-6420-4906-886B-2616120E2E9F}" presName="entireBox" presStyleLbl="node1" presStyleIdx="0" presStyleCnt="3"/>
      <dgm:spPr/>
    </dgm:pt>
    <dgm:pt modelId="{066788EB-2F72-4EF6-ABEC-814FDD84BD13}" type="pres">
      <dgm:prSet presAssocID="{48F60E74-6420-4906-886B-2616120E2E9F}" presName="descendantBox" presStyleCnt="0"/>
      <dgm:spPr/>
    </dgm:pt>
    <dgm:pt modelId="{AF777BD5-4A05-483F-ACEF-2B85C5C3C07C}" type="pres">
      <dgm:prSet presAssocID="{6BC7A15F-86B4-4DDF-B5A4-9D8E407BF401}" presName="childTextBox" presStyleLbl="fgAccFollowNode1" presStyleIdx="0" presStyleCnt="4">
        <dgm:presLayoutVars>
          <dgm:bulletEnabled val="1"/>
        </dgm:presLayoutVars>
      </dgm:prSet>
      <dgm:spPr/>
    </dgm:pt>
    <dgm:pt modelId="{C70A7591-1B78-42B9-8379-8417BD27A08F}" type="pres">
      <dgm:prSet presAssocID="{4A4C3212-B664-40A5-A09E-523B40E448D8}" presName="sp" presStyleCnt="0"/>
      <dgm:spPr/>
    </dgm:pt>
    <dgm:pt modelId="{2352B5C2-1E3D-429E-8EFB-D6FF0CE92EA1}" type="pres">
      <dgm:prSet presAssocID="{A318749F-AB13-4474-9917-94C4525F47A4}" presName="arrowAndChildren" presStyleCnt="0"/>
      <dgm:spPr/>
    </dgm:pt>
    <dgm:pt modelId="{C6B0E6F6-F730-4329-9A86-E447DEEB9EF1}" type="pres">
      <dgm:prSet presAssocID="{A318749F-AB13-4474-9917-94C4525F47A4}" presName="parentTextArrow" presStyleLbl="node1" presStyleIdx="0" presStyleCnt="3"/>
      <dgm:spPr/>
    </dgm:pt>
    <dgm:pt modelId="{462C7AE0-31AE-4E04-A233-EB9E99E60367}" type="pres">
      <dgm:prSet presAssocID="{A318749F-AB13-4474-9917-94C4525F47A4}" presName="arrow" presStyleLbl="node1" presStyleIdx="1" presStyleCnt="3"/>
      <dgm:spPr/>
    </dgm:pt>
    <dgm:pt modelId="{FD1791B0-6A58-40FD-8281-B95F86AFED2E}" type="pres">
      <dgm:prSet presAssocID="{A318749F-AB13-4474-9917-94C4525F47A4}" presName="descendantArrow" presStyleCnt="0"/>
      <dgm:spPr/>
    </dgm:pt>
    <dgm:pt modelId="{D913C499-56B7-4FEA-9832-76F7E0DF91D0}" type="pres">
      <dgm:prSet presAssocID="{421D4921-1856-485B-8E8A-60DC8327559A}" presName="childTextArrow" presStyleLbl="fgAccFollowNode1" presStyleIdx="1" presStyleCnt="4">
        <dgm:presLayoutVars>
          <dgm:bulletEnabled val="1"/>
        </dgm:presLayoutVars>
      </dgm:prSet>
      <dgm:spPr/>
    </dgm:pt>
    <dgm:pt modelId="{7153D3EE-F081-4837-A6DB-BEE7792F9419}" type="pres">
      <dgm:prSet presAssocID="{A8F71D99-479D-40A1-A270-B759EED7F9CA}" presName="childTextArrow" presStyleLbl="fgAccFollowNode1" presStyleIdx="2" presStyleCnt="4">
        <dgm:presLayoutVars>
          <dgm:bulletEnabled val="1"/>
        </dgm:presLayoutVars>
      </dgm:prSet>
      <dgm:spPr/>
    </dgm:pt>
    <dgm:pt modelId="{94AF2FA1-CB89-4B26-BDDF-502F1FB691C3}" type="pres">
      <dgm:prSet presAssocID="{C9B3AB5A-5C13-4298-972B-C84C77B629A1}" presName="sp" presStyleCnt="0"/>
      <dgm:spPr/>
    </dgm:pt>
    <dgm:pt modelId="{0FCB1A9E-2D20-4820-9000-7240015505AF}" type="pres">
      <dgm:prSet presAssocID="{7234A377-1E15-4A4E-BAA7-66FEF3BA9CCF}" presName="arrowAndChildren" presStyleCnt="0"/>
      <dgm:spPr/>
    </dgm:pt>
    <dgm:pt modelId="{049C2048-5D9B-458F-8AC0-550C65CB951D}" type="pres">
      <dgm:prSet presAssocID="{7234A377-1E15-4A4E-BAA7-66FEF3BA9CCF}" presName="parentTextArrow" presStyleLbl="node1" presStyleIdx="1" presStyleCnt="3"/>
      <dgm:spPr/>
    </dgm:pt>
    <dgm:pt modelId="{DC8A97D4-01B6-4629-92F3-6C78E190F6BF}" type="pres">
      <dgm:prSet presAssocID="{7234A377-1E15-4A4E-BAA7-66FEF3BA9CCF}" presName="arrow" presStyleLbl="node1" presStyleIdx="2" presStyleCnt="3"/>
      <dgm:spPr/>
    </dgm:pt>
    <dgm:pt modelId="{AD665B99-D833-4258-AF54-D2AB5E1AC65B}" type="pres">
      <dgm:prSet presAssocID="{7234A377-1E15-4A4E-BAA7-66FEF3BA9CCF}" presName="descendantArrow" presStyleCnt="0"/>
      <dgm:spPr/>
    </dgm:pt>
    <dgm:pt modelId="{E85BAB87-9D0F-4E5E-BFD9-54E82D458D76}" type="pres">
      <dgm:prSet presAssocID="{229314C5-2E4F-43AE-9BBC-B5F1EE901EC6}" presName="childTextArrow" presStyleLbl="fgAccFollowNode1" presStyleIdx="3" presStyleCnt="4">
        <dgm:presLayoutVars>
          <dgm:bulletEnabled val="1"/>
        </dgm:presLayoutVars>
      </dgm:prSet>
      <dgm:spPr/>
    </dgm:pt>
  </dgm:ptLst>
  <dgm:cxnLst>
    <dgm:cxn modelId="{8A183902-D1F4-494E-AB0A-828FE39CF469}" type="presOf" srcId="{A318749F-AB13-4474-9917-94C4525F47A4}" destId="{462C7AE0-31AE-4E04-A233-EB9E99E60367}" srcOrd="1" destOrd="0" presId="urn:microsoft.com/office/officeart/2005/8/layout/process4"/>
    <dgm:cxn modelId="{EE2D8302-838F-4695-89E2-5D52E406B669}" type="presOf" srcId="{5D831D9E-9B25-4DA9-A616-C2DE46D7F619}" destId="{B035118D-1B72-45D7-9BC6-7CA051ADE17F}" srcOrd="0" destOrd="0" presId="urn:microsoft.com/office/officeart/2005/8/layout/process4"/>
    <dgm:cxn modelId="{E5AEBE12-2D70-445C-9C73-F4B6F3D717A3}" srcId="{5D831D9E-9B25-4DA9-A616-C2DE46D7F619}" destId="{48F60E74-6420-4906-886B-2616120E2E9F}" srcOrd="2" destOrd="0" parTransId="{778B3B53-0B50-4EF6-92A8-474CE5E23AD3}" sibTransId="{A5435760-AD22-4B66-81D3-4605341F3860}"/>
    <dgm:cxn modelId="{A8BDFB21-67D5-43BF-B171-4293AA86A13C}" type="presOf" srcId="{7234A377-1E15-4A4E-BAA7-66FEF3BA9CCF}" destId="{DC8A97D4-01B6-4629-92F3-6C78E190F6BF}" srcOrd="1" destOrd="0" presId="urn:microsoft.com/office/officeart/2005/8/layout/process4"/>
    <dgm:cxn modelId="{1DF7E02D-9742-48C2-8118-D355796E472F}" srcId="{48F60E74-6420-4906-886B-2616120E2E9F}" destId="{6BC7A15F-86B4-4DDF-B5A4-9D8E407BF401}" srcOrd="0" destOrd="0" parTransId="{08CF598C-45B8-4558-B645-0EF537A31AA7}" sibTransId="{BAB2EB1B-4A54-4E00-BDBE-D9F5DF5B4987}"/>
    <dgm:cxn modelId="{43BCFF32-5DD4-496C-A491-68F49862EFD1}" srcId="{5D831D9E-9B25-4DA9-A616-C2DE46D7F619}" destId="{7234A377-1E15-4A4E-BAA7-66FEF3BA9CCF}" srcOrd="0" destOrd="0" parTransId="{63575E52-2F85-4B25-A41F-5F2A9AC1A85B}" sibTransId="{C9B3AB5A-5C13-4298-972B-C84C77B629A1}"/>
    <dgm:cxn modelId="{E6F32038-0864-4DC1-A79C-A39807E10577}" type="presOf" srcId="{48F60E74-6420-4906-886B-2616120E2E9F}" destId="{8D897CF9-C0FF-41E6-BBB3-D3EF5CDFBB7F}" srcOrd="0" destOrd="0" presId="urn:microsoft.com/office/officeart/2005/8/layout/process4"/>
    <dgm:cxn modelId="{46CC533E-78F6-413E-96C8-B111BE14DF28}" type="presOf" srcId="{A8F71D99-479D-40A1-A270-B759EED7F9CA}" destId="{7153D3EE-F081-4837-A6DB-BEE7792F9419}" srcOrd="0" destOrd="0" presId="urn:microsoft.com/office/officeart/2005/8/layout/process4"/>
    <dgm:cxn modelId="{91322C3F-0B8F-47B4-8DB2-A7FCEE72EB32}" type="presOf" srcId="{229314C5-2E4F-43AE-9BBC-B5F1EE901EC6}" destId="{E85BAB87-9D0F-4E5E-BFD9-54E82D458D76}" srcOrd="0" destOrd="0" presId="urn:microsoft.com/office/officeart/2005/8/layout/process4"/>
    <dgm:cxn modelId="{C05E3D4B-E14A-40D9-AC99-D5272D356EAA}" type="presOf" srcId="{A318749F-AB13-4474-9917-94C4525F47A4}" destId="{C6B0E6F6-F730-4329-9A86-E447DEEB9EF1}" srcOrd="0" destOrd="0" presId="urn:microsoft.com/office/officeart/2005/8/layout/process4"/>
    <dgm:cxn modelId="{DEA79B71-A839-4090-A01D-42D16A62A3AF}" type="presOf" srcId="{421D4921-1856-485B-8E8A-60DC8327559A}" destId="{D913C499-56B7-4FEA-9832-76F7E0DF91D0}" srcOrd="0" destOrd="0" presId="urn:microsoft.com/office/officeart/2005/8/layout/process4"/>
    <dgm:cxn modelId="{9A82AF52-1591-45BD-8DF6-9C53C138EEFD}" srcId="{A318749F-AB13-4474-9917-94C4525F47A4}" destId="{421D4921-1856-485B-8E8A-60DC8327559A}" srcOrd="0" destOrd="0" parTransId="{8697527D-B6D1-4231-8B72-3F7BF1DC269B}" sibTransId="{938BD294-73D6-4911-9B5C-D7A92417432F}"/>
    <dgm:cxn modelId="{13E1A680-A0CC-4552-A974-A7FACE3EBD7E}" srcId="{5D831D9E-9B25-4DA9-A616-C2DE46D7F619}" destId="{A318749F-AB13-4474-9917-94C4525F47A4}" srcOrd="1" destOrd="0" parTransId="{888B4AEB-85AE-4FCF-BB0C-49D1B9CCAD02}" sibTransId="{4A4C3212-B664-40A5-A09E-523B40E448D8}"/>
    <dgm:cxn modelId="{89076CA7-626F-4E73-BA4C-D99761CFAF22}" type="presOf" srcId="{6BC7A15F-86B4-4DDF-B5A4-9D8E407BF401}" destId="{AF777BD5-4A05-483F-ACEF-2B85C5C3C07C}" srcOrd="0" destOrd="0" presId="urn:microsoft.com/office/officeart/2005/8/layout/process4"/>
    <dgm:cxn modelId="{A9BF2BA9-91F4-483F-AAC6-F1E2F3F977D7}" type="presOf" srcId="{48F60E74-6420-4906-886B-2616120E2E9F}" destId="{B7D109C6-5D8F-49A2-A34F-BD0870C98C33}" srcOrd="1" destOrd="0" presId="urn:microsoft.com/office/officeart/2005/8/layout/process4"/>
    <dgm:cxn modelId="{1CDCB4C1-1E3D-4810-BA9F-E845E86B4A32}" srcId="{A318749F-AB13-4474-9917-94C4525F47A4}" destId="{A8F71D99-479D-40A1-A270-B759EED7F9CA}" srcOrd="1" destOrd="0" parTransId="{1D83C2FF-E2C1-4B28-B50C-B1810FA429E1}" sibTransId="{75C9E682-9AD9-4CDC-B994-B96011319D7E}"/>
    <dgm:cxn modelId="{EE938FD6-ED7E-478E-8135-726372355F1C}" type="presOf" srcId="{7234A377-1E15-4A4E-BAA7-66FEF3BA9CCF}" destId="{049C2048-5D9B-458F-8AC0-550C65CB951D}" srcOrd="0" destOrd="0" presId="urn:microsoft.com/office/officeart/2005/8/layout/process4"/>
    <dgm:cxn modelId="{DD37F7E2-D88B-4C2E-B6E0-6BB8F501304C}" srcId="{7234A377-1E15-4A4E-BAA7-66FEF3BA9CCF}" destId="{229314C5-2E4F-43AE-9BBC-B5F1EE901EC6}" srcOrd="0" destOrd="0" parTransId="{1948A8CC-E9F4-436D-BD73-55C1EFB86205}" sibTransId="{9C7BE047-E2B0-434D-8448-8E1D5097D8DD}"/>
    <dgm:cxn modelId="{CC8717D4-5D05-47D3-AC3E-849B12B1AE26}" type="presParOf" srcId="{B035118D-1B72-45D7-9BC6-7CA051ADE17F}" destId="{51388CFF-00E2-45C7-B284-413FA4CA4D89}" srcOrd="0" destOrd="0" presId="urn:microsoft.com/office/officeart/2005/8/layout/process4"/>
    <dgm:cxn modelId="{3963083E-2DFD-4183-AD96-A1D07D58527D}" type="presParOf" srcId="{51388CFF-00E2-45C7-B284-413FA4CA4D89}" destId="{8D897CF9-C0FF-41E6-BBB3-D3EF5CDFBB7F}" srcOrd="0" destOrd="0" presId="urn:microsoft.com/office/officeart/2005/8/layout/process4"/>
    <dgm:cxn modelId="{2B72C06B-CE16-4C9E-9A4C-275F1F963010}" type="presParOf" srcId="{51388CFF-00E2-45C7-B284-413FA4CA4D89}" destId="{B7D109C6-5D8F-49A2-A34F-BD0870C98C33}" srcOrd="1" destOrd="0" presId="urn:microsoft.com/office/officeart/2005/8/layout/process4"/>
    <dgm:cxn modelId="{EED4B6DC-A6CF-4AF7-BF85-5FCDED59BB3E}" type="presParOf" srcId="{51388CFF-00E2-45C7-B284-413FA4CA4D89}" destId="{066788EB-2F72-4EF6-ABEC-814FDD84BD13}" srcOrd="2" destOrd="0" presId="urn:microsoft.com/office/officeart/2005/8/layout/process4"/>
    <dgm:cxn modelId="{BAB3A5DF-F58C-481A-BCCE-23A43A754B53}" type="presParOf" srcId="{066788EB-2F72-4EF6-ABEC-814FDD84BD13}" destId="{AF777BD5-4A05-483F-ACEF-2B85C5C3C07C}" srcOrd="0" destOrd="0" presId="urn:microsoft.com/office/officeart/2005/8/layout/process4"/>
    <dgm:cxn modelId="{5A6EF361-4476-47CA-91A6-04998591CC5E}" type="presParOf" srcId="{B035118D-1B72-45D7-9BC6-7CA051ADE17F}" destId="{C70A7591-1B78-42B9-8379-8417BD27A08F}" srcOrd="1" destOrd="0" presId="urn:microsoft.com/office/officeart/2005/8/layout/process4"/>
    <dgm:cxn modelId="{120FDF94-3DC4-4457-A537-410B7E1C3AA2}" type="presParOf" srcId="{B035118D-1B72-45D7-9BC6-7CA051ADE17F}" destId="{2352B5C2-1E3D-429E-8EFB-D6FF0CE92EA1}" srcOrd="2" destOrd="0" presId="urn:microsoft.com/office/officeart/2005/8/layout/process4"/>
    <dgm:cxn modelId="{50FC4014-CADA-41F6-BE10-364ADCD20E2D}" type="presParOf" srcId="{2352B5C2-1E3D-429E-8EFB-D6FF0CE92EA1}" destId="{C6B0E6F6-F730-4329-9A86-E447DEEB9EF1}" srcOrd="0" destOrd="0" presId="urn:microsoft.com/office/officeart/2005/8/layout/process4"/>
    <dgm:cxn modelId="{533042F3-F9D1-4402-AEB5-6D5DCCEE8602}" type="presParOf" srcId="{2352B5C2-1E3D-429E-8EFB-D6FF0CE92EA1}" destId="{462C7AE0-31AE-4E04-A233-EB9E99E60367}" srcOrd="1" destOrd="0" presId="urn:microsoft.com/office/officeart/2005/8/layout/process4"/>
    <dgm:cxn modelId="{B4AAF7F9-37B8-4F5F-AD66-512775348AFE}" type="presParOf" srcId="{2352B5C2-1E3D-429E-8EFB-D6FF0CE92EA1}" destId="{FD1791B0-6A58-40FD-8281-B95F86AFED2E}" srcOrd="2" destOrd="0" presId="urn:microsoft.com/office/officeart/2005/8/layout/process4"/>
    <dgm:cxn modelId="{786F491C-949A-4468-8A4C-6AB08308604B}" type="presParOf" srcId="{FD1791B0-6A58-40FD-8281-B95F86AFED2E}" destId="{D913C499-56B7-4FEA-9832-76F7E0DF91D0}" srcOrd="0" destOrd="0" presId="urn:microsoft.com/office/officeart/2005/8/layout/process4"/>
    <dgm:cxn modelId="{3E86D9B2-586F-4A8D-BADF-E0B2769B33DE}" type="presParOf" srcId="{FD1791B0-6A58-40FD-8281-B95F86AFED2E}" destId="{7153D3EE-F081-4837-A6DB-BEE7792F9419}" srcOrd="1" destOrd="0" presId="urn:microsoft.com/office/officeart/2005/8/layout/process4"/>
    <dgm:cxn modelId="{BF5EEB98-A585-4684-91EA-EFB3567EFED6}" type="presParOf" srcId="{B035118D-1B72-45D7-9BC6-7CA051ADE17F}" destId="{94AF2FA1-CB89-4B26-BDDF-502F1FB691C3}" srcOrd="3" destOrd="0" presId="urn:microsoft.com/office/officeart/2005/8/layout/process4"/>
    <dgm:cxn modelId="{E6ED1B04-0520-4292-9B38-9D08688D8AA8}" type="presParOf" srcId="{B035118D-1B72-45D7-9BC6-7CA051ADE17F}" destId="{0FCB1A9E-2D20-4820-9000-7240015505AF}" srcOrd="4" destOrd="0" presId="urn:microsoft.com/office/officeart/2005/8/layout/process4"/>
    <dgm:cxn modelId="{9AC99E5E-12C6-4CE0-ABAE-6695360FCC59}" type="presParOf" srcId="{0FCB1A9E-2D20-4820-9000-7240015505AF}" destId="{049C2048-5D9B-458F-8AC0-550C65CB951D}" srcOrd="0" destOrd="0" presId="urn:microsoft.com/office/officeart/2005/8/layout/process4"/>
    <dgm:cxn modelId="{52A16CD9-7CB8-4F1F-A1E8-CA8E03492836}" type="presParOf" srcId="{0FCB1A9E-2D20-4820-9000-7240015505AF}" destId="{DC8A97D4-01B6-4629-92F3-6C78E190F6BF}" srcOrd="1" destOrd="0" presId="urn:microsoft.com/office/officeart/2005/8/layout/process4"/>
    <dgm:cxn modelId="{034444E8-01DE-4103-836F-6D7DECA9B29E}" type="presParOf" srcId="{0FCB1A9E-2D20-4820-9000-7240015505AF}" destId="{AD665B99-D833-4258-AF54-D2AB5E1AC65B}" srcOrd="2" destOrd="0" presId="urn:microsoft.com/office/officeart/2005/8/layout/process4"/>
    <dgm:cxn modelId="{1627066B-2CE4-4C63-8AE0-C98651CC81EA}" type="presParOf" srcId="{AD665B99-D833-4258-AF54-D2AB5E1AC65B}" destId="{E85BAB87-9D0F-4E5E-BFD9-54E82D458D76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26DE68-82DA-4807-9C47-69B26ED010BE}">
      <dsp:nvSpPr>
        <dsp:cNvPr id="0" name=""/>
        <dsp:cNvSpPr/>
      </dsp:nvSpPr>
      <dsp:spPr>
        <a:xfrm>
          <a:off x="-3699892" y="-568428"/>
          <a:ext cx="4410281" cy="4410281"/>
        </a:xfrm>
        <a:prstGeom prst="blockArc">
          <a:avLst>
            <a:gd name="adj1" fmla="val 18900000"/>
            <a:gd name="adj2" fmla="val 2700000"/>
            <a:gd name="adj3" fmla="val 49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7D7605-0526-4058-9C34-74D864DBD232}">
      <dsp:nvSpPr>
        <dsp:cNvPr id="0" name=""/>
        <dsp:cNvSpPr/>
      </dsp:nvSpPr>
      <dsp:spPr>
        <a:xfrm>
          <a:off x="372369" y="251660"/>
          <a:ext cx="6201390" cy="5035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9719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latin typeface="+mj-lt"/>
            </a:rPr>
            <a:t>Alle Unterrichtsinhalte in drei statt in zwei Jahren</a:t>
          </a:r>
        </a:p>
      </dsp:txBody>
      <dsp:txXfrm>
        <a:off x="372369" y="251660"/>
        <a:ext cx="6201390" cy="503583"/>
      </dsp:txXfrm>
    </dsp:sp>
    <dsp:sp modelId="{4A6AECB8-DE79-483E-BC53-748E5B7FAC3A}">
      <dsp:nvSpPr>
        <dsp:cNvPr id="0" name=""/>
        <dsp:cNvSpPr/>
      </dsp:nvSpPr>
      <dsp:spPr>
        <a:xfrm>
          <a:off x="57630" y="188712"/>
          <a:ext cx="629479" cy="62947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ECCC7D-DA94-44C1-9FBD-60DF17CC3E87}">
      <dsp:nvSpPr>
        <dsp:cNvPr id="0" name=""/>
        <dsp:cNvSpPr/>
      </dsp:nvSpPr>
      <dsp:spPr>
        <a:xfrm>
          <a:off x="652453" y="1007167"/>
          <a:ext cx="5912674" cy="5035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9719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latin typeface="+mj-lt"/>
            </a:rPr>
            <a:t>Feste Schulzeiten an der </a:t>
          </a:r>
          <a:r>
            <a:rPr lang="de-DE" sz="2100" kern="1200" dirty="0" err="1">
              <a:latin typeface="+mj-lt"/>
            </a:rPr>
            <a:t>FakS</a:t>
          </a:r>
          <a:r>
            <a:rPr lang="de-DE" sz="2100" kern="1200" dirty="0">
              <a:latin typeface="+mj-lt"/>
            </a:rPr>
            <a:t> Maria Stern</a:t>
          </a:r>
        </a:p>
      </dsp:txBody>
      <dsp:txXfrm>
        <a:off x="652453" y="1007167"/>
        <a:ext cx="5912674" cy="503583"/>
      </dsp:txXfrm>
    </dsp:sp>
    <dsp:sp modelId="{CF31A6B4-BC79-4CBA-931D-D303676B4F73}">
      <dsp:nvSpPr>
        <dsp:cNvPr id="0" name=""/>
        <dsp:cNvSpPr/>
      </dsp:nvSpPr>
      <dsp:spPr>
        <a:xfrm>
          <a:off x="346346" y="944219"/>
          <a:ext cx="629479" cy="62947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7655DB-B077-4362-A62B-49CD33E25BC8}">
      <dsp:nvSpPr>
        <dsp:cNvPr id="0" name=""/>
        <dsp:cNvSpPr/>
      </dsp:nvSpPr>
      <dsp:spPr>
        <a:xfrm>
          <a:off x="661085" y="1762673"/>
          <a:ext cx="5912674" cy="5035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9719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latin typeface="+mj-lt"/>
            </a:rPr>
            <a:t>Berufsbegleitend </a:t>
          </a:r>
          <a:r>
            <a:rPr lang="de-DE" sz="2100" b="1" kern="1200" dirty="0">
              <a:latin typeface="+mj-lt"/>
            </a:rPr>
            <a:t>oder</a:t>
          </a:r>
          <a:r>
            <a:rPr lang="de-DE" sz="2100" kern="1200" dirty="0">
              <a:latin typeface="+mj-lt"/>
            </a:rPr>
            <a:t> mit begleitenden Praktika</a:t>
          </a:r>
        </a:p>
      </dsp:txBody>
      <dsp:txXfrm>
        <a:off x="661085" y="1762673"/>
        <a:ext cx="5912674" cy="503583"/>
      </dsp:txXfrm>
    </dsp:sp>
    <dsp:sp modelId="{9416AFE2-1B27-4592-A127-960A03EE1C75}">
      <dsp:nvSpPr>
        <dsp:cNvPr id="0" name=""/>
        <dsp:cNvSpPr/>
      </dsp:nvSpPr>
      <dsp:spPr>
        <a:xfrm>
          <a:off x="346346" y="1699725"/>
          <a:ext cx="629479" cy="62947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0898B3-A6A6-48B5-ADD1-BCA2D6AE9D4D}">
      <dsp:nvSpPr>
        <dsp:cNvPr id="0" name=""/>
        <dsp:cNvSpPr/>
      </dsp:nvSpPr>
      <dsp:spPr>
        <a:xfrm>
          <a:off x="372369" y="2518179"/>
          <a:ext cx="6201390" cy="5035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9719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latin typeface="+mj-lt"/>
            </a:rPr>
            <a:t>Betreuung durch die Praxisdozierenden der </a:t>
          </a:r>
          <a:r>
            <a:rPr lang="de-DE" sz="2100" kern="1200" dirty="0" err="1">
              <a:latin typeface="+mj-lt"/>
            </a:rPr>
            <a:t>FakS</a:t>
          </a:r>
          <a:endParaRPr lang="de-DE" sz="2100" kern="1200" dirty="0">
            <a:latin typeface="+mj-lt"/>
          </a:endParaRPr>
        </a:p>
      </dsp:txBody>
      <dsp:txXfrm>
        <a:off x="372369" y="2518179"/>
        <a:ext cx="6201390" cy="503583"/>
      </dsp:txXfrm>
    </dsp:sp>
    <dsp:sp modelId="{7C8D4CD5-A7DB-4261-8E5D-EB0E54D2F63D}">
      <dsp:nvSpPr>
        <dsp:cNvPr id="0" name=""/>
        <dsp:cNvSpPr/>
      </dsp:nvSpPr>
      <dsp:spPr>
        <a:xfrm>
          <a:off x="57630" y="2455231"/>
          <a:ext cx="629479" cy="62947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D109C6-5D8F-49A2-A34F-BD0870C98C33}">
      <dsp:nvSpPr>
        <dsp:cNvPr id="0" name=""/>
        <dsp:cNvSpPr/>
      </dsp:nvSpPr>
      <dsp:spPr>
        <a:xfrm>
          <a:off x="0" y="3059187"/>
          <a:ext cx="6096000" cy="10040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latin typeface="Source Sans Pro Light (Überschriften)"/>
            </a:rPr>
            <a:t>Berufspraktikum</a:t>
          </a:r>
          <a:r>
            <a:rPr lang="de-DE" sz="1900" kern="1200" dirty="0"/>
            <a:t> </a:t>
          </a:r>
        </a:p>
      </dsp:txBody>
      <dsp:txXfrm>
        <a:off x="0" y="3059187"/>
        <a:ext cx="6096000" cy="542210"/>
      </dsp:txXfrm>
    </dsp:sp>
    <dsp:sp modelId="{AF777BD5-4A05-483F-ACEF-2B85C5C3C07C}">
      <dsp:nvSpPr>
        <dsp:cNvPr id="0" name=""/>
        <dsp:cNvSpPr/>
      </dsp:nvSpPr>
      <dsp:spPr>
        <a:xfrm>
          <a:off x="0" y="3581316"/>
          <a:ext cx="6096000" cy="46188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latin typeface="Source Sans Pro Light (Überschriften)"/>
            </a:rPr>
            <a:t>Ein Jahr in einer sozialpädagogischen Einrichtung und Seminartage an der Fachakademie Maria Stern </a:t>
          </a:r>
        </a:p>
      </dsp:txBody>
      <dsp:txXfrm>
        <a:off x="0" y="3581316"/>
        <a:ext cx="6096000" cy="461883"/>
      </dsp:txXfrm>
    </dsp:sp>
    <dsp:sp modelId="{462C7AE0-31AE-4E04-A233-EB9E99E60367}">
      <dsp:nvSpPr>
        <dsp:cNvPr id="0" name=""/>
        <dsp:cNvSpPr/>
      </dsp:nvSpPr>
      <dsp:spPr>
        <a:xfrm rot="10800000">
          <a:off x="0" y="1529953"/>
          <a:ext cx="6096000" cy="1544296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latin typeface="Source Sans Pro Light (Überschriften)"/>
            </a:rPr>
            <a:t>Drei Jahre Teilzeitunterricht                   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latin typeface="Source Sans Pro Light (Überschriften)"/>
            </a:rPr>
            <a:t>an der Fachakademie Maria Stern</a:t>
          </a:r>
        </a:p>
      </dsp:txBody>
      <dsp:txXfrm rot="-10800000">
        <a:off x="0" y="1529953"/>
        <a:ext cx="6096000" cy="542047"/>
      </dsp:txXfrm>
    </dsp:sp>
    <dsp:sp modelId="{D913C499-56B7-4FEA-9832-76F7E0DF91D0}">
      <dsp:nvSpPr>
        <dsp:cNvPr id="0" name=""/>
        <dsp:cNvSpPr/>
      </dsp:nvSpPr>
      <dsp:spPr>
        <a:xfrm>
          <a:off x="0" y="2072001"/>
          <a:ext cx="3047999" cy="461744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latin typeface="Source Sans Pro Light (Überschriften)"/>
            </a:rPr>
            <a:t>Berufsbegleitend </a:t>
          </a:r>
          <a:endParaRPr lang="de-DE" sz="2700" kern="1200" dirty="0">
            <a:latin typeface="Source Sans Pro Light (Überschriften)"/>
          </a:endParaRPr>
        </a:p>
      </dsp:txBody>
      <dsp:txXfrm>
        <a:off x="0" y="2072001"/>
        <a:ext cx="3047999" cy="461744"/>
      </dsp:txXfrm>
    </dsp:sp>
    <dsp:sp modelId="{7153D3EE-F081-4837-A6DB-BEE7792F9419}">
      <dsp:nvSpPr>
        <dsp:cNvPr id="0" name=""/>
        <dsp:cNvSpPr/>
      </dsp:nvSpPr>
      <dsp:spPr>
        <a:xfrm>
          <a:off x="3048000" y="2072001"/>
          <a:ext cx="3047999" cy="461744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latin typeface="Source Sans Pro Light (Überschriften)"/>
            </a:rPr>
            <a:t>Mit begleitenden Praktika </a:t>
          </a:r>
        </a:p>
      </dsp:txBody>
      <dsp:txXfrm>
        <a:off x="3048000" y="2072001"/>
        <a:ext cx="3047999" cy="461744"/>
      </dsp:txXfrm>
    </dsp:sp>
    <dsp:sp modelId="{DC8A97D4-01B6-4629-92F3-6C78E190F6BF}">
      <dsp:nvSpPr>
        <dsp:cNvPr id="0" name=""/>
        <dsp:cNvSpPr/>
      </dsp:nvSpPr>
      <dsp:spPr>
        <a:xfrm rot="10800000">
          <a:off x="0" y="718"/>
          <a:ext cx="6096000" cy="1544296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latin typeface="Source Sans Pro Light (Überschriften)"/>
            </a:rPr>
            <a:t>200 Stunden Praktikum in einer sozialpädagogischen Einrichtung / eigene Familienzeit  / Quereinstieg mit Ausbildung</a:t>
          </a:r>
        </a:p>
      </dsp:txBody>
      <dsp:txXfrm rot="-10800000">
        <a:off x="0" y="718"/>
        <a:ext cx="6096000" cy="542047"/>
      </dsp:txXfrm>
    </dsp:sp>
    <dsp:sp modelId="{E85BAB87-9D0F-4E5E-BFD9-54E82D458D76}">
      <dsp:nvSpPr>
        <dsp:cNvPr id="0" name=""/>
        <dsp:cNvSpPr/>
      </dsp:nvSpPr>
      <dsp:spPr>
        <a:xfrm>
          <a:off x="0" y="542766"/>
          <a:ext cx="6096000" cy="461744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>
              <a:latin typeface="Source Sans Pro Light (Überschriften)"/>
            </a:rPr>
            <a:t>vor </a:t>
          </a:r>
          <a:r>
            <a:rPr lang="de-DE" sz="1600" kern="1200" dirty="0">
              <a:latin typeface="Source Sans Pro Light (Überschriften)"/>
            </a:rPr>
            <a:t>Ausbildungsbeginn </a:t>
          </a:r>
        </a:p>
      </dsp:txBody>
      <dsp:txXfrm>
        <a:off x="0" y="542766"/>
        <a:ext cx="6096000" cy="4617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885ABD-55A3-4DE3-A57E-3E729CAAB8F3}" type="datetimeFigureOut">
              <a:rPr lang="de-DE" smtClean="0"/>
              <a:t>22.09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C085CA-894F-4AB8-9098-8596DA1DAA8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3286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50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200">
                <a:latin typeface="Source Sans Pro Bold" panose="020B07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pic>
        <p:nvPicPr>
          <p:cNvPr id="1026" name="Picture 2" descr="T:\Sch_werk.Sek\Schul(werk)logos - neu\Geschäftsstelle des Schulwerks\logo-segment-blank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3651" y="5842951"/>
            <a:ext cx="5910349" cy="1015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61C6F1B-96BA-4B6D-88E6-7F5145278C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54981" y="5434013"/>
            <a:ext cx="5634037" cy="3651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pPr lvl="0"/>
            <a:r>
              <a:rPr lang="de-DE" err="1"/>
              <a:t>Klasse_Fach_Thema_Lehrkraft</a:t>
            </a:r>
            <a:endParaRPr lang="de-DE"/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92082628-9413-432D-A452-2071D54B57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3045" y="6236110"/>
            <a:ext cx="2794959" cy="502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1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Inhalt und 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A306D029-9FA6-43D8-AF99-C093F3890D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4393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A306D029-9FA6-43D8-AF99-C093F3890D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2116D165-83FF-42EA-A3C5-C34DB8AACA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0" i="0" baseline="0">
              <a:latin typeface="Source Sans Pro Light" panose="020B0403030403020204" pitchFamily="34" charset="0"/>
              <a:ea typeface="+mj-ea"/>
              <a:cs typeface="+mj-cs"/>
              <a:sym typeface="Source Sans Pro Light" panose="020B0403030403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738900-E4F4-4666-B917-EADFE44236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188" y="590479"/>
            <a:ext cx="7920830" cy="97034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ußzeilenplatzhalter 15">
            <a:extLst>
              <a:ext uri="{FF2B5EF4-FFF2-40B4-BE49-F238E27FC236}">
                <a16:creationId xmlns:a16="http://schemas.microsoft.com/office/drawing/2014/main" id="{47691515-D5F1-47D9-9829-935C2697FC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8650" y="6135524"/>
            <a:ext cx="3086100" cy="58595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Datumsplatzhalter 17">
            <a:extLst>
              <a:ext uri="{FF2B5EF4-FFF2-40B4-BE49-F238E27FC236}">
                <a16:creationId xmlns:a16="http://schemas.microsoft.com/office/drawing/2014/main" id="{6B5E99EF-8AC2-42F6-A77C-7B4D435E61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1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A2AB3E9F-D3D2-48DE-8F62-ED5413FA7116}" type="datetime1">
              <a:rPr lang="de-DE" smtClean="0"/>
              <a:t>22.09.2025</a:t>
            </a:fld>
            <a:endParaRPr lang="de-DE"/>
          </a:p>
        </p:txBody>
      </p:sp>
      <p:sp>
        <p:nvSpPr>
          <p:cNvPr id="6" name="Foliennummernplatzhalter 18">
            <a:extLst>
              <a:ext uri="{FF2B5EF4-FFF2-40B4-BE49-F238E27FC236}">
                <a16:creationId xmlns:a16="http://schemas.microsoft.com/office/drawing/2014/main" id="{B6310D75-0E4A-4B6C-9AF7-5E2EAA704A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1134" y="6497372"/>
            <a:ext cx="507546" cy="3017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3AD15E-265B-4C42-B721-64F32F1323FB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A47F2EBA-9D0E-4A68-B085-0867384B636B}"/>
              </a:ext>
            </a:extLst>
          </p:cNvPr>
          <p:cNvCxnSpPr>
            <a:cxnSpLocks/>
          </p:cNvCxnSpPr>
          <p:nvPr userDrawn="1"/>
        </p:nvCxnSpPr>
        <p:spPr>
          <a:xfrm>
            <a:off x="611188" y="1560827"/>
            <a:ext cx="792083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A90E755-C1C4-4ED1-8E8E-40338CD338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1188" y="1560513"/>
            <a:ext cx="7921625" cy="46355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3FBC17D2-8A8B-428A-A812-A128E7DD1DE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1188" y="2024063"/>
            <a:ext cx="7921626" cy="38893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59036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5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5375" userDrawn="1">
          <p15:clr>
            <a:srgbClr val="FBAE40"/>
          </p15:clr>
        </p15:guide>
        <p15:guide id="4" orient="horz" pos="3725" userDrawn="1">
          <p15:clr>
            <a:srgbClr val="FBAE40"/>
          </p15:clr>
        </p15:guide>
        <p15:guide id="5" orient="horz" pos="127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2x Inhalt und 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E056A47-C143-4305-A08D-5C80E9F075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36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E056A47-C143-4305-A08D-5C80E9F075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15">
            <a:extLst>
              <a:ext uri="{FF2B5EF4-FFF2-40B4-BE49-F238E27FC236}">
                <a16:creationId xmlns:a16="http://schemas.microsoft.com/office/drawing/2014/main" id="{47691515-D5F1-47D9-9829-935C2697FC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8650" y="6135524"/>
            <a:ext cx="3086100" cy="58595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Datumsplatzhalter 17">
            <a:extLst>
              <a:ext uri="{FF2B5EF4-FFF2-40B4-BE49-F238E27FC236}">
                <a16:creationId xmlns:a16="http://schemas.microsoft.com/office/drawing/2014/main" id="{6B5E99EF-8AC2-42F6-A77C-7B4D435E61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1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2620B3E4-2463-46FF-8DBA-6C6F50E81F64}" type="datetime1">
              <a:rPr lang="de-DE" smtClean="0"/>
              <a:t>22.09.2025</a:t>
            </a:fld>
            <a:endParaRPr lang="de-DE"/>
          </a:p>
        </p:txBody>
      </p:sp>
      <p:sp>
        <p:nvSpPr>
          <p:cNvPr id="6" name="Foliennummernplatzhalter 18">
            <a:extLst>
              <a:ext uri="{FF2B5EF4-FFF2-40B4-BE49-F238E27FC236}">
                <a16:creationId xmlns:a16="http://schemas.microsoft.com/office/drawing/2014/main" id="{B6310D75-0E4A-4B6C-9AF7-5E2EAA704A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1134" y="6497372"/>
            <a:ext cx="507546" cy="3017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3AD15E-265B-4C42-B721-64F32F1323F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Inhaltsplatzhalter 11">
            <a:extLst>
              <a:ext uri="{FF2B5EF4-FFF2-40B4-BE49-F238E27FC236}">
                <a16:creationId xmlns:a16="http://schemas.microsoft.com/office/drawing/2014/main" id="{65C762FC-4A69-4E85-BD0F-91F53ACDF21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1188" y="2024063"/>
            <a:ext cx="3960812" cy="38893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E71D94E-BC4B-4212-B43C-1A1806AA400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72001" y="2024063"/>
            <a:ext cx="3960812" cy="38893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ADC19AF6-18B4-4750-891E-17B9F2A66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188" y="590479"/>
            <a:ext cx="7920830" cy="97034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CA959255-D27C-4B03-B56F-5D330F8C6A4F}"/>
              </a:ext>
            </a:extLst>
          </p:cNvPr>
          <p:cNvCxnSpPr>
            <a:cxnSpLocks/>
          </p:cNvCxnSpPr>
          <p:nvPr userDrawn="1"/>
        </p:nvCxnSpPr>
        <p:spPr>
          <a:xfrm>
            <a:off x="611188" y="1560827"/>
            <a:ext cx="792083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D33CE27D-240E-4DA1-8E5C-F0B6C6493A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1188" y="1560513"/>
            <a:ext cx="7921625" cy="46355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09949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5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5375">
          <p15:clr>
            <a:srgbClr val="FBAE40"/>
          </p15:clr>
        </p15:guide>
        <p15:guide id="4" orient="horz" pos="3725">
          <p15:clr>
            <a:srgbClr val="FBAE40"/>
          </p15:clr>
        </p15:guide>
        <p15:guide id="5" orient="horz" pos="1275">
          <p15:clr>
            <a:srgbClr val="FBAE40"/>
          </p15:clr>
        </p15:guide>
        <p15:guide id="6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Inhalt ohn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B670594-4A86-4BDD-BB72-E222CE5DE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0474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B670594-4A86-4BDD-BB72-E222CE5DE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0DAA93E1-4EE4-49D1-8924-A3F5C05F06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0" i="0" baseline="0">
              <a:latin typeface="Source Sans Pro Light" panose="020B0403030403020204" pitchFamily="34" charset="0"/>
              <a:ea typeface="+mj-ea"/>
              <a:cs typeface="+mj-cs"/>
              <a:sym typeface="Source Sans Pro Light" panose="020B040303040302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1C1051-789E-4359-8709-695A457DEF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A1123B-967E-4191-97B8-A9D3E86111B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6B63C5-344B-446E-AEDA-8691B74430D7}" type="datetime1">
              <a:rPr lang="de-DE" smtClean="0"/>
              <a:t>22.09.2025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773F7D-53F2-494C-8005-AF927A0E7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Inhaltsplatzhalter 11">
            <a:extLst>
              <a:ext uri="{FF2B5EF4-FFF2-40B4-BE49-F238E27FC236}">
                <a16:creationId xmlns:a16="http://schemas.microsoft.com/office/drawing/2014/main" id="{3CD6EFDB-C13E-4215-977E-7513018C523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1188" y="2024063"/>
            <a:ext cx="7921625" cy="38893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A6552CC-F48C-4FBA-A89D-A6EA26A4D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188" y="590479"/>
            <a:ext cx="7920830" cy="97034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79B99BF9-DDFE-4144-A2F9-F8B1708C8773}"/>
              </a:ext>
            </a:extLst>
          </p:cNvPr>
          <p:cNvCxnSpPr>
            <a:cxnSpLocks/>
          </p:cNvCxnSpPr>
          <p:nvPr userDrawn="1"/>
        </p:nvCxnSpPr>
        <p:spPr>
          <a:xfrm>
            <a:off x="611188" y="1560827"/>
            <a:ext cx="792083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0896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85" userDrawn="1">
          <p15:clr>
            <a:srgbClr val="FBAE40"/>
          </p15:clr>
        </p15:guide>
        <p15:guide id="4" pos="5375" userDrawn="1">
          <p15:clr>
            <a:srgbClr val="FBAE40"/>
          </p15:clr>
        </p15:guide>
        <p15:guide id="5" orient="horz" pos="3725" userDrawn="1">
          <p15:clr>
            <a:srgbClr val="FBAE40"/>
          </p15:clr>
        </p15:guide>
        <p15:guide id="6" orient="horz" pos="127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ohne Inhalt ohn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B670594-4A86-4BDD-BB72-E222CE5DE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9427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B670594-4A86-4BDD-BB72-E222CE5DE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1C1051-789E-4359-8709-695A457DEF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A1123B-967E-4191-97B8-A9D3E86111B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68CACA2-E921-4094-9FDA-189F0C69B221}" type="datetime1">
              <a:rPr lang="de-DE" smtClean="0"/>
              <a:t>22.09.2025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773F7D-53F2-494C-8005-AF927A0E7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36B2248-1B06-4186-B35E-6C9CDE09E5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188" y="590479"/>
            <a:ext cx="7920830" cy="97034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928B08C5-1A5D-4C72-A4FC-34B090BBAE5A}"/>
              </a:ext>
            </a:extLst>
          </p:cNvPr>
          <p:cNvCxnSpPr>
            <a:cxnSpLocks/>
          </p:cNvCxnSpPr>
          <p:nvPr userDrawn="1"/>
        </p:nvCxnSpPr>
        <p:spPr>
          <a:xfrm>
            <a:off x="611188" y="1560827"/>
            <a:ext cx="792083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7E1ACA4C-DD21-4C1B-880D-A994F5958E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1188" y="1560513"/>
            <a:ext cx="7921625" cy="46355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41676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85">
          <p15:clr>
            <a:srgbClr val="FBAE40"/>
          </p15:clr>
        </p15:guide>
        <p15:guide id="4" pos="5375">
          <p15:clr>
            <a:srgbClr val="FBAE40"/>
          </p15:clr>
        </p15:guide>
        <p15:guide id="5" orient="horz" pos="3725">
          <p15:clr>
            <a:srgbClr val="FBAE40"/>
          </p15:clr>
        </p15:guide>
        <p15:guide id="6" orient="horz" pos="127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B670594-4A86-4BDD-BB72-E222CE5DE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448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B670594-4A86-4BDD-BB72-E222CE5DE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1C1051-789E-4359-8709-695A457DEF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A1123B-967E-4191-97B8-A9D3E86111B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68CACA2-E921-4094-9FDA-189F0C69B221}" type="datetime1">
              <a:rPr lang="de-DE" smtClean="0"/>
              <a:t>22.09.2025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773F7D-53F2-494C-8005-AF927A0E7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105133F-25A5-47A1-9159-A491F98DFF07}"/>
              </a:ext>
            </a:extLst>
          </p:cNvPr>
          <p:cNvSpPr/>
          <p:nvPr userDrawn="1"/>
        </p:nvSpPr>
        <p:spPr>
          <a:xfrm>
            <a:off x="896938" y="-1706"/>
            <a:ext cx="2734573" cy="3651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b="1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3" name="Inhaltsplatzhalter 6">
            <a:extLst>
              <a:ext uri="{FF2B5EF4-FFF2-40B4-BE49-F238E27FC236}">
                <a16:creationId xmlns:a16="http://schemas.microsoft.com/office/drawing/2014/main" id="{7A8B756F-F9CA-41A7-8D20-BACAF0BE0B7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69975" y="1225550"/>
            <a:ext cx="7262813" cy="40274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74846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85">
          <p15:clr>
            <a:srgbClr val="FBAE40"/>
          </p15:clr>
        </p15:guide>
        <p15:guide id="4" pos="5375">
          <p15:clr>
            <a:srgbClr val="FBAE40"/>
          </p15:clr>
        </p15:guide>
        <p15:guide id="5" orient="horz" pos="3725">
          <p15:clr>
            <a:srgbClr val="FBAE40"/>
          </p15:clr>
        </p15:guide>
        <p15:guide id="6" orient="horz" pos="127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94043F5-FA9B-41FE-B632-4FBAEBECE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618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94043F5-FA9B-41FE-B632-4FBAEBECE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AF1156B-64F2-4CC6-8958-046EFC4D54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F48E2E5-43DE-4B3A-8497-6F1E2D460F2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C5A313E-1A84-4FB3-8A4C-4341D0C66281}" type="datetime1">
              <a:rPr lang="de-DE" smtClean="0"/>
              <a:t>22.09.2025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BBD4A03-0B2E-492C-8558-30A003DE8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3A008AF-26F4-4458-A2F5-4B6628745B20}"/>
              </a:ext>
            </a:extLst>
          </p:cNvPr>
          <p:cNvSpPr/>
          <p:nvPr userDrawn="1"/>
        </p:nvSpPr>
        <p:spPr>
          <a:xfrm>
            <a:off x="896938" y="-1706"/>
            <a:ext cx="2734573" cy="3651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b="1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71451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B670594-4A86-4BDD-BB72-E222CE5DE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6070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B670594-4A86-4BDD-BB72-E222CE5DE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1C1051-789E-4359-8709-695A457DEF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A1123B-967E-4191-97B8-A9D3E86111B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4CF9A07-79C5-4A39-A1F8-0D1EBB946288}" type="datetime1">
              <a:rPr lang="de-DE" smtClean="0"/>
              <a:t>22.09.2025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773F7D-53F2-494C-8005-AF927A0E7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538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85">
          <p15:clr>
            <a:srgbClr val="FBAE40"/>
          </p15:clr>
        </p15:guide>
        <p15:guide id="4" pos="5375">
          <p15:clr>
            <a:srgbClr val="FBAE40"/>
          </p15:clr>
        </p15:guide>
        <p15:guide id="5" orient="horz" pos="3725">
          <p15:clr>
            <a:srgbClr val="FBAE40"/>
          </p15:clr>
        </p15:guide>
        <p15:guide id="6" orient="horz" pos="127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1473CC8-A210-4E7F-ADAE-DC47F19430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9307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1473CC8-A210-4E7F-ADAE-DC47F1943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8A817B0D-801F-4666-BC3D-1BD6D2EEC0B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000" b="0" i="0" baseline="0">
              <a:latin typeface="Source Sans Pro Light" panose="020B0403030403020204" pitchFamily="34" charset="0"/>
              <a:ea typeface="+mj-ea"/>
              <a:cs typeface="+mj-cs"/>
              <a:sym typeface="Source Sans Pro Light" panose="020B0403030403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CB575C-EC82-4CBF-9F8A-FFE8BF7AF3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D3C7AA1-50FA-4485-975B-E2985DA2DBBC}"/>
              </a:ext>
            </a:extLst>
          </p:cNvPr>
          <p:cNvSpPr/>
          <p:nvPr userDrawn="1"/>
        </p:nvSpPr>
        <p:spPr>
          <a:xfrm>
            <a:off x="715991" y="1621766"/>
            <a:ext cx="7712018" cy="13802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b="1"/>
              <a:t>Vielen Dank für eu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1422149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5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C06AB2C2-A8AC-421F-BB13-F94947163E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21419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06" imgH="306" progId="TCLayout.ActiveDocument.1">
                  <p:embed/>
                </p:oleObj>
              </mc:Choice>
              <mc:Fallback>
                <p:oleObj name="think-cell Folie" r:id="rId13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C06AB2C2-A8AC-421F-BB13-F94947163E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D2A79F8B-532B-4F23-AA56-CBEAE4E19DB8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0" i="0" baseline="0">
              <a:latin typeface="Source Sans Pro Light" panose="020B0403030403020204" pitchFamily="34" charset="0"/>
              <a:ea typeface="+mj-ea"/>
              <a:cs typeface="+mj-cs"/>
              <a:sym typeface="Source Sans Pro Light" panose="020B040303040302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5701369" cy="572978"/>
          </a:xfrm>
          <a:prstGeom prst="rect">
            <a:avLst/>
          </a:prstGeom>
        </p:spPr>
      </p:pic>
      <p:pic>
        <p:nvPicPr>
          <p:cNvPr id="13" name="Picture 3" descr="T:\Sch_werk.Sek\Schul(werk)logos - neu\07 - St.-Michael-Schule Neu-Ulm\GS_St-Michael-Neu-Ulm\01_Standardlogo\Screen_sRGB\Logo_GS_St-Michael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1368" y="6157795"/>
            <a:ext cx="3291991" cy="585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T:\Sch_werk.Sek\Schul(werk)logos - neu\Geschäftsstelle des Schulwerks\logo-segment-blanko.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3651" y="5842951"/>
            <a:ext cx="5910349" cy="1015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E9642B98-0808-4A2B-B081-AFA633D3DE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8650" y="6135524"/>
            <a:ext cx="3086100" cy="58595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313DF663-B892-4ACF-B55F-8FD993EE0C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1706"/>
            <a:ext cx="8367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3C5A313E-1A84-4FB3-8A4C-4341D0C66281}" type="datetime1">
              <a:rPr lang="de-DE" smtClean="0"/>
              <a:t>22.09.2025</a:t>
            </a:fld>
            <a:endParaRPr lang="de-DE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33B7B7E5-5183-49AA-A01A-89DD602E7C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1134" y="6497372"/>
            <a:ext cx="507546" cy="3017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3AD15E-265B-4C42-B721-64F32F1323F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5" name="Grafik 14" descr="Ein Bild, das Text enthält.&#10;&#10;Automatisch generierte Beschreibung">
            <a:extLst>
              <a:ext uri="{FF2B5EF4-FFF2-40B4-BE49-F238E27FC236}">
                <a16:creationId xmlns:a16="http://schemas.microsoft.com/office/drawing/2014/main" id="{C461873F-4998-4A4A-BE63-56F76DD631B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3045" y="6236110"/>
            <a:ext cx="2794959" cy="502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118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7" r:id="rId2"/>
    <p:sldLayoutId id="2147483672" r:id="rId3"/>
    <p:sldLayoutId id="2147483669" r:id="rId4"/>
    <p:sldLayoutId id="2147483670" r:id="rId5"/>
    <p:sldLayoutId id="2147483674" r:id="rId6"/>
    <p:sldLayoutId id="2147483673" r:id="rId7"/>
    <p:sldLayoutId id="2147483671" r:id="rId8"/>
    <p:sldLayoutId id="2147483668" r:id="rId9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tel:+49821/4558-16000" TargetMode="External"/><Relationship Id="rId2" Type="http://schemas.openxmlformats.org/officeDocument/2006/relationships/hyperlink" Target="mailto:sekretariat@faks-augsburg.de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4.jpg"/><Relationship Id="rId4" Type="http://schemas.openxmlformats.org/officeDocument/2006/relationships/image" Target="../media/image1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C16929-2E6F-448E-B7A3-482699B45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Berufsbegleitende </a:t>
            </a:r>
            <a:br>
              <a:rPr lang="de-DE" dirty="0"/>
            </a:br>
            <a:r>
              <a:rPr lang="de-DE" dirty="0"/>
              <a:t>Teilzeitausbildung</a:t>
            </a:r>
            <a:br>
              <a:rPr lang="de-DE" dirty="0"/>
            </a:br>
            <a:r>
              <a:rPr lang="de-DE" sz="3000" dirty="0"/>
              <a:t>zur staatl. anerkannten Erzieherin /</a:t>
            </a:r>
            <a:br>
              <a:rPr lang="de-DE" sz="3000" dirty="0"/>
            </a:br>
            <a:r>
              <a:rPr lang="de-DE" sz="3000" dirty="0"/>
              <a:t>zum staatl. anerkannten Erzieher 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1E6E784-D841-44FB-A7E8-91F6E6FA19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an der Fachakademie für Sozialpädagogik</a:t>
            </a:r>
          </a:p>
          <a:p>
            <a:r>
              <a:rPr lang="de-DE" dirty="0"/>
              <a:t>Maria Stern Augsburg</a:t>
            </a:r>
          </a:p>
        </p:txBody>
      </p:sp>
    </p:spTree>
    <p:extLst>
      <p:ext uri="{BB962C8B-B14F-4D97-AF65-F5344CB8AC3E}">
        <p14:creationId xmlns:p14="http://schemas.microsoft.com/office/powerpoint/2010/main" val="35055274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F9E145-4CB2-AF09-2C79-7F4AA7912B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B652F6C-7375-66ED-6D92-E1F854489A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1706"/>
            <a:ext cx="20574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2AB3E9F-D3D2-48DE-8F62-ED5413FA7116}" type="datetime1">
              <a:rPr lang="de-DE" smtClean="0"/>
              <a:pPr>
                <a:spcAft>
                  <a:spcPts val="600"/>
                </a:spcAft>
              </a:pPr>
              <a:t>22.09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3C3ED6-BA84-AE0D-65B3-EDCD347837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1134" y="6497372"/>
            <a:ext cx="507546" cy="30175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C3AD15E-265B-4C42-B721-64F32F1323FB}" type="slidenum">
              <a:rPr lang="de-DE" smtClean="0"/>
              <a:pPr>
                <a:spcAft>
                  <a:spcPts val="600"/>
                </a:spcAft>
              </a:pPr>
              <a:t>10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A291580-309E-8B01-1BC0-2EBDFEAC867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1188" y="2024063"/>
            <a:ext cx="3960812" cy="3889375"/>
          </a:xfrm>
        </p:spPr>
        <p:txBody>
          <a:bodyPr>
            <a:normAutofit lnSpcReduction="10000"/>
          </a:bodyPr>
          <a:lstStyle/>
          <a:p>
            <a:r>
              <a:rPr lang="de-DE" sz="1900" b="1" dirty="0"/>
              <a:t>PPH</a:t>
            </a:r>
            <a:r>
              <a:rPr lang="de-DE" sz="1900" dirty="0"/>
              <a:t>: Pädagogik, Psychologie, Heilpädagogik</a:t>
            </a:r>
          </a:p>
          <a:p>
            <a:r>
              <a:rPr lang="de-DE" sz="1900" b="1" dirty="0"/>
              <a:t>PMG, SPP</a:t>
            </a:r>
            <a:r>
              <a:rPr lang="de-DE" sz="1900" dirty="0"/>
              <a:t>,</a:t>
            </a:r>
            <a:r>
              <a:rPr lang="de-DE" sz="1900" b="1" dirty="0"/>
              <a:t> </a:t>
            </a:r>
            <a:r>
              <a:rPr lang="de-DE" sz="1900" dirty="0"/>
              <a:t>Übungen: 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900" dirty="0"/>
              <a:t>    Praxis- und Methodenlehre mit  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900" dirty="0"/>
              <a:t>    Gesprächsführung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900" dirty="0"/>
              <a:t>    Sozialpädagogische Praxis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900" dirty="0"/>
              <a:t>    Wahlpflichtbereich</a:t>
            </a:r>
          </a:p>
          <a:p>
            <a:endParaRPr lang="de-DE" sz="1900" dirty="0"/>
          </a:p>
          <a:p>
            <a:r>
              <a:rPr lang="de-DE" sz="1900" dirty="0"/>
              <a:t>Recht und Organisation</a:t>
            </a:r>
          </a:p>
          <a:p>
            <a:r>
              <a:rPr lang="de-DE" sz="1900" dirty="0"/>
              <a:t>Soziologie, Politik und Gesellschaft</a:t>
            </a:r>
          </a:p>
          <a:p>
            <a:r>
              <a:rPr lang="de-DE" sz="1900" dirty="0"/>
              <a:t>Mathematisch-naturwissenschaftliche Bildung</a:t>
            </a:r>
          </a:p>
          <a:p>
            <a:r>
              <a:rPr lang="de-DE" sz="1900" dirty="0"/>
              <a:t>Ökologie und Gesundheitserziehung</a:t>
            </a:r>
          </a:p>
          <a:p>
            <a:pPr marL="0" indent="0">
              <a:buNone/>
            </a:pPr>
            <a:endParaRPr lang="de-DE" sz="1700" dirty="0"/>
          </a:p>
          <a:p>
            <a:pPr marL="0" indent="0">
              <a:buNone/>
            </a:pPr>
            <a:endParaRPr lang="de-DE" sz="17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A1193-257F-D754-67CE-77102D3285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188" y="590479"/>
            <a:ext cx="7920830" cy="970348"/>
          </a:xfrm>
        </p:spPr>
        <p:txBody>
          <a:bodyPr anchor="b">
            <a:normAutofit/>
          </a:bodyPr>
          <a:lstStyle/>
          <a:p>
            <a:r>
              <a:rPr lang="de-DE" dirty="0"/>
              <a:t>3 Jahre theoretische Ausbildung - Fächer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90FEF9B-8387-5730-B552-57A7E2C738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1188" y="1560513"/>
            <a:ext cx="7921625" cy="463550"/>
          </a:xfrm>
        </p:spPr>
        <p:txBody>
          <a:bodyPr/>
          <a:lstStyle/>
          <a:p>
            <a:r>
              <a:rPr lang="en-US" dirty="0"/>
              <a:t>Fett </a:t>
            </a:r>
            <a:r>
              <a:rPr lang="en-US" dirty="0" err="1"/>
              <a:t>gedruckt</a:t>
            </a:r>
            <a:r>
              <a:rPr lang="en-US" dirty="0"/>
              <a:t> </a:t>
            </a:r>
            <a:r>
              <a:rPr lang="en-US" dirty="0" err="1"/>
              <a:t>sind</a:t>
            </a:r>
            <a:r>
              <a:rPr lang="en-US" dirty="0"/>
              <a:t> </a:t>
            </a:r>
            <a:r>
              <a:rPr lang="en-US" dirty="0" err="1"/>
              <a:t>Fächer</a:t>
            </a:r>
            <a:r>
              <a:rPr lang="en-US" dirty="0"/>
              <a:t> der </a:t>
            </a:r>
            <a:r>
              <a:rPr lang="en-US" dirty="0" err="1"/>
              <a:t>Abschlussprüfung</a:t>
            </a:r>
            <a:endParaRPr lang="en-US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78A412CD-BF52-1E9A-D1BE-D4EFF6BE5F46}"/>
              </a:ext>
            </a:extLst>
          </p:cNvPr>
          <p:cNvSpPr txBox="1">
            <a:spLocks/>
          </p:cNvSpPr>
          <p:nvPr/>
        </p:nvSpPr>
        <p:spPr>
          <a:xfrm>
            <a:off x="4236130" y="2024062"/>
            <a:ext cx="3960812" cy="388937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700" dirty="0"/>
          </a:p>
          <a:p>
            <a:endParaRPr lang="de-DE" sz="1700" dirty="0"/>
          </a:p>
        </p:txBody>
      </p:sp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0BA16E1D-D751-27FF-7069-215F9D8BCD4C}"/>
              </a:ext>
            </a:extLst>
          </p:cNvPr>
          <p:cNvSpPr txBox="1">
            <a:spLocks/>
          </p:cNvSpPr>
          <p:nvPr/>
        </p:nvSpPr>
        <p:spPr>
          <a:xfrm>
            <a:off x="4404066" y="2068129"/>
            <a:ext cx="3960812" cy="4016985"/>
          </a:xfrm>
          <a:prstGeom prst="rect">
            <a:avLst/>
          </a:prstGeom>
        </p:spPr>
        <p:txBody>
          <a:bodyPr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600" b="1" dirty="0"/>
              <a:t>Literatur- und Medienpädagogik</a:t>
            </a:r>
          </a:p>
          <a:p>
            <a:r>
              <a:rPr lang="de-DE" sz="7600" b="1" dirty="0"/>
              <a:t>Theologie und Religionspädagogik</a:t>
            </a:r>
          </a:p>
          <a:p>
            <a:endParaRPr lang="de-DE" sz="7600" dirty="0"/>
          </a:p>
          <a:p>
            <a:endParaRPr lang="de-DE" sz="7600" dirty="0"/>
          </a:p>
          <a:p>
            <a:endParaRPr lang="de-DE" sz="7600" dirty="0"/>
          </a:p>
          <a:p>
            <a:pPr marL="0" indent="0">
              <a:buNone/>
            </a:pPr>
            <a:endParaRPr lang="de-DE" sz="7600" dirty="0"/>
          </a:p>
          <a:p>
            <a:r>
              <a:rPr lang="de-DE" sz="7600" dirty="0"/>
              <a:t>Kunst- und Werkpädagogik</a:t>
            </a:r>
          </a:p>
          <a:p>
            <a:r>
              <a:rPr lang="de-DE" sz="7600" dirty="0"/>
              <a:t>Musikerziehung, Bewegungserziehung</a:t>
            </a:r>
          </a:p>
          <a:p>
            <a:r>
              <a:rPr lang="de-DE" sz="7600" dirty="0"/>
              <a:t>Deutsch</a:t>
            </a:r>
            <a:endParaRPr lang="de-DE" sz="6400" dirty="0"/>
          </a:p>
          <a:p>
            <a:r>
              <a:rPr lang="de-DE" sz="7600" dirty="0"/>
              <a:t>Englisch</a:t>
            </a:r>
          </a:p>
          <a:p>
            <a:r>
              <a:rPr lang="de-DE" sz="7600" dirty="0"/>
              <a:t>Nach Wahl: Mathematik</a:t>
            </a:r>
            <a:endParaRPr lang="de-DE" sz="1700" dirty="0"/>
          </a:p>
          <a:p>
            <a:endParaRPr lang="de-DE" sz="1700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CE3D830-34EF-DC8C-F26B-3C46E96BFCC3}"/>
              </a:ext>
            </a:extLst>
          </p:cNvPr>
          <p:cNvCxnSpPr/>
          <p:nvPr/>
        </p:nvCxnSpPr>
        <p:spPr>
          <a:xfrm>
            <a:off x="805543" y="3897087"/>
            <a:ext cx="74784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08878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2DBF26-7933-0FB5-5F8B-E7F756E9786E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0" y="-1706"/>
            <a:ext cx="836762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620B3E4-2463-46FF-8DBA-6C6F50E81F64}" type="datetime1">
              <a:rPr lang="de-DE" smtClean="0"/>
              <a:pPr>
                <a:spcAft>
                  <a:spcPts val="600"/>
                </a:spcAft>
              </a:pPr>
              <a:t>22.09.2025</a:t>
            </a:fld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6D1F41-8413-9105-83E6-5478EC76D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61134" y="6497372"/>
            <a:ext cx="507546" cy="30175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C3AD15E-265B-4C42-B721-64F32F1323FB}" type="slidenum">
              <a:rPr lang="de-DE" smtClean="0"/>
              <a:pPr>
                <a:spcAft>
                  <a:spcPts val="600"/>
                </a:spcAft>
              </a:pPr>
              <a:t>11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9A0CABD-769D-E0CD-25C8-89F369E4CBC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1188" y="2024063"/>
            <a:ext cx="4056062" cy="3889375"/>
          </a:xfrm>
        </p:spPr>
        <p:txBody>
          <a:bodyPr lIns="91440" tIns="45720" rIns="91440" bIns="4572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 sz="2200" dirty="0"/>
              <a:t>Berufsbegleitendes Modell:       Sie sind angestellt als </a:t>
            </a:r>
            <a:r>
              <a:rPr lang="de-DE" sz="2200" b="1" dirty="0" err="1"/>
              <a:t>KinderpflegerIn</a:t>
            </a:r>
            <a:r>
              <a:rPr lang="de-DE" sz="2200" b="1" dirty="0"/>
              <a:t> oder Hilfskraft</a:t>
            </a:r>
            <a:r>
              <a:rPr lang="de-DE" sz="2200" dirty="0"/>
              <a:t>, ab Mitte des zweiten Studienjahres evtl. möglich als </a:t>
            </a:r>
            <a:r>
              <a:rPr lang="de-DE" sz="2200" b="1" dirty="0"/>
              <a:t>Ergänzungskraft </a:t>
            </a:r>
          </a:p>
          <a:p>
            <a:pPr marL="0" indent="0">
              <a:buNone/>
            </a:pPr>
            <a:r>
              <a:rPr lang="de-DE" sz="2200" b="1" dirty="0"/>
              <a:t>oder</a:t>
            </a:r>
          </a:p>
          <a:p>
            <a:r>
              <a:rPr lang="de-DE" sz="2200" dirty="0"/>
              <a:t>Sie machen </a:t>
            </a:r>
            <a:r>
              <a:rPr lang="de-DE" sz="2200" b="1" dirty="0"/>
              <a:t>begleitende Praktika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F1A9EB8-0C98-A1F4-7EF5-2D513156F8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365760"/>
            <a:ext cx="7886700" cy="1325880"/>
          </a:xfrm>
        </p:spPr>
        <p:txBody>
          <a:bodyPr anchor="ctr">
            <a:normAutofit/>
          </a:bodyPr>
          <a:lstStyle/>
          <a:p>
            <a:r>
              <a:rPr lang="de-DE" dirty="0"/>
              <a:t>Das Fach SPP – Sozialpädagogische Praxis – begleitet Ihre Praxistätigkeit </a:t>
            </a:r>
          </a:p>
        </p:txBody>
      </p:sp>
      <p:pic>
        <p:nvPicPr>
          <p:cNvPr id="2050" name="Picture 2" descr="Bildergebnis für erzieherin">
            <a:extLst>
              <a:ext uri="{FF2B5EF4-FFF2-40B4-BE49-F238E27FC236}">
                <a16:creationId xmlns:a16="http://schemas.microsoft.com/office/drawing/2014/main" id="{FD5AB71A-2DAF-0047-2493-840F7F1C01D3}"/>
              </a:ext>
            </a:extLst>
          </p:cNvPr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63" r="4452" b="-1"/>
          <a:stretch/>
        </p:blipFill>
        <p:spPr bwMode="auto">
          <a:xfrm>
            <a:off x="4667250" y="2024063"/>
            <a:ext cx="3865562" cy="3889375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29538092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5BCDF-BDF0-8EAA-8E8B-2BCAD2FAD5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5662EB5-5913-5CF6-1FDE-A875048D2D8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0" y="-1706"/>
            <a:ext cx="836762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620B3E4-2463-46FF-8DBA-6C6F50E81F64}" type="datetime1">
              <a:rPr lang="de-DE" smtClean="0"/>
              <a:pPr>
                <a:spcAft>
                  <a:spcPts val="600"/>
                </a:spcAft>
              </a:pPr>
              <a:t>22.09.2025</a:t>
            </a:fld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B8644F3-236E-0391-1C2B-327EA2A72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61134" y="6497372"/>
            <a:ext cx="507546" cy="30175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C3AD15E-265B-4C42-B721-64F32F1323FB}" type="slidenum">
              <a:rPr lang="de-DE" smtClean="0"/>
              <a:pPr>
                <a:spcAft>
                  <a:spcPts val="600"/>
                </a:spcAft>
              </a:pPr>
              <a:t>12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B3776AF-0EAC-16C8-FE3C-A7FAF54C204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2514" y="2024063"/>
            <a:ext cx="4144736" cy="4039280"/>
          </a:xfrm>
        </p:spPr>
        <p:txBody>
          <a:bodyPr>
            <a:normAutofit fontScale="92500"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de-DE" sz="2200" dirty="0"/>
              <a:t>Der</a:t>
            </a:r>
            <a:r>
              <a:rPr lang="de-DE" sz="2200" b="1" dirty="0"/>
              <a:t> Praktikumsumfang wird mit jeder/m Studierenden individuell festgelegt. </a:t>
            </a:r>
            <a:r>
              <a:rPr lang="de-DE" sz="2200" dirty="0"/>
              <a:t>Hier ein typisches Modell: </a:t>
            </a:r>
          </a:p>
          <a:p>
            <a:pPr lvl="1">
              <a:spcAft>
                <a:spcPts val="600"/>
              </a:spcAft>
            </a:pPr>
            <a:r>
              <a:rPr lang="de-DE" sz="1800" b="1" dirty="0"/>
              <a:t>200 Stunden pro Schuljahr</a:t>
            </a:r>
          </a:p>
          <a:p>
            <a:pPr lvl="1">
              <a:spcAft>
                <a:spcPts val="600"/>
              </a:spcAft>
            </a:pPr>
            <a:r>
              <a:rPr lang="de-DE" sz="1800" b="1" dirty="0"/>
              <a:t>40 Stunden in einer Grundschule (innerhalb der 3 Ausbildungsjahre)</a:t>
            </a:r>
          </a:p>
          <a:p>
            <a:pPr lvl="1">
              <a:spcAft>
                <a:spcPts val="600"/>
              </a:spcAft>
            </a:pPr>
            <a:r>
              <a:rPr lang="de-DE" sz="1800" b="1" dirty="0"/>
              <a:t>40 Stunden in einem Bereich außerhalb des Hauptpraktikums (innerhalb der 3 Ausbildungsjahre)</a:t>
            </a:r>
          </a:p>
          <a:p>
            <a:pPr lvl="1">
              <a:spcAft>
                <a:spcPts val="600"/>
              </a:spcAft>
            </a:pPr>
            <a:r>
              <a:rPr lang="de-DE" sz="1800" b="1" dirty="0"/>
              <a:t>Tandem: Studierende besuchen sich gegenseitig an je einem Arbeitstag pro Schuljahr in der Praxis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566C818-7858-BB5E-D806-A246C89F59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365760"/>
            <a:ext cx="7886700" cy="1325880"/>
          </a:xfrm>
        </p:spPr>
        <p:txBody>
          <a:bodyPr anchor="ctr">
            <a:normAutofit/>
          </a:bodyPr>
          <a:lstStyle/>
          <a:p>
            <a:r>
              <a:rPr lang="de-DE" dirty="0"/>
              <a:t>Das Fach SPP – Sozialpädagogische Praxis – begleitet Ihre Praxistätigkeit </a:t>
            </a:r>
          </a:p>
        </p:txBody>
      </p:sp>
      <p:pic>
        <p:nvPicPr>
          <p:cNvPr id="2050" name="Picture 2" descr="Bildergebnis für erzieherin">
            <a:extLst>
              <a:ext uri="{FF2B5EF4-FFF2-40B4-BE49-F238E27FC236}">
                <a16:creationId xmlns:a16="http://schemas.microsoft.com/office/drawing/2014/main" id="{11105921-DD08-38DB-F5B1-CEFDBF8AF59A}"/>
              </a:ext>
            </a:extLst>
          </p:cNvPr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63" r="4452" b="-1"/>
          <a:stretch/>
        </p:blipFill>
        <p:spPr bwMode="auto">
          <a:xfrm>
            <a:off x="4667250" y="2024063"/>
            <a:ext cx="3865562" cy="3889375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3683696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C5BD403-FE66-F412-702A-E16B6A78D7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6B63C5-344B-446E-AEDA-8691B74430D7}" type="datetime1">
              <a:rPr lang="de-DE" smtClean="0"/>
              <a:t>22.09.2025</a:t>
            </a:fld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C64327B-543C-2580-436B-35A5AECA4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5172DE5-E7D1-2387-6FCA-D5A118233C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8086" y="1711685"/>
            <a:ext cx="5257800" cy="4125551"/>
          </a:xfrm>
        </p:spPr>
        <p:txBody>
          <a:bodyPr/>
          <a:lstStyle/>
          <a:p>
            <a:pPr algn="l" rtl="0" fontAlgn="base">
              <a:lnSpc>
                <a:spcPts val="2850"/>
              </a:lnSpc>
              <a:buFont typeface="Arial" panose="020B0604020202020204" pitchFamily="34" charset="0"/>
              <a:buChar char="•"/>
            </a:pPr>
            <a:r>
              <a:rPr lang="de-DE" sz="2200" b="1" i="0" u="none" strike="noStrike" dirty="0">
                <a:solidFill>
                  <a:srgbClr val="000000"/>
                </a:solidFill>
                <a:effectLst/>
              </a:rPr>
              <a:t>Fachtage</a:t>
            </a:r>
            <a:r>
              <a:rPr lang="de-DE" sz="2200" b="0" i="0" u="none" strike="noStrike" dirty="0">
                <a:solidFill>
                  <a:srgbClr val="000000"/>
                </a:solidFill>
                <a:effectLst/>
              </a:rPr>
              <a:t> mit renommierten Referenten und Referentinnen</a:t>
            </a:r>
            <a:r>
              <a:rPr lang="en-US" sz="2200" b="0" i="0" dirty="0">
                <a:solidFill>
                  <a:srgbClr val="000000"/>
                </a:solidFill>
                <a:effectLst/>
              </a:rPr>
              <a:t>​</a:t>
            </a:r>
          </a:p>
          <a:p>
            <a:pPr fontAlgn="base">
              <a:lnSpc>
                <a:spcPts val="2850"/>
              </a:lnSpc>
            </a:pPr>
            <a:r>
              <a:rPr lang="de-DE" sz="2200" b="1" i="0" u="none" strike="noStrike" dirty="0">
                <a:solidFill>
                  <a:srgbClr val="000000"/>
                </a:solidFill>
                <a:effectLst/>
              </a:rPr>
              <a:t>Möglichkeit der Erlangung der (Fach-) Hochschulreife</a:t>
            </a:r>
            <a:endParaRPr lang="en-US" sz="2200" b="0" i="0" dirty="0">
              <a:solidFill>
                <a:srgbClr val="000000"/>
              </a:solidFill>
              <a:effectLst/>
            </a:endParaRPr>
          </a:p>
          <a:p>
            <a:pPr algn="l" rtl="0" fontAlgn="base">
              <a:lnSpc>
                <a:spcPts val="2850"/>
              </a:lnSpc>
              <a:buFont typeface="Arial" panose="020B0604020202020204" pitchFamily="34" charset="0"/>
              <a:buChar char="•"/>
            </a:pPr>
            <a:r>
              <a:rPr lang="de-DE" sz="2200" i="0" u="none" strike="noStrike" dirty="0">
                <a:solidFill>
                  <a:srgbClr val="000000"/>
                </a:solidFill>
                <a:effectLst/>
              </a:rPr>
              <a:t>Während Ihrer Studienzeit erhalten kostenfrei ein </a:t>
            </a:r>
            <a:r>
              <a:rPr lang="de-DE" sz="2200" b="1" i="0" u="none" strike="noStrike" dirty="0">
                <a:solidFill>
                  <a:srgbClr val="000000"/>
                </a:solidFill>
                <a:effectLst/>
              </a:rPr>
              <a:t>I-Pad</a:t>
            </a:r>
            <a:r>
              <a:rPr lang="de-DE" sz="2200" i="0" u="none" strike="noStrike" dirty="0">
                <a:solidFill>
                  <a:srgbClr val="000000"/>
                </a:solidFill>
                <a:effectLst/>
              </a:rPr>
              <a:t>. Sämtliche Unterrichtsmaterialen stehen Ihnen digital zur Verfügung</a:t>
            </a:r>
          </a:p>
          <a:p>
            <a:pPr algn="l" rtl="0" fontAlgn="base">
              <a:lnSpc>
                <a:spcPts val="2850"/>
              </a:lnSpc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0000"/>
                </a:solidFill>
              </a:rPr>
              <a:t>10% der Unterrichtszeit erfolgt bequem von zu Hause aus im </a:t>
            </a:r>
            <a:r>
              <a:rPr lang="de-DE" sz="2200" b="1" dirty="0">
                <a:solidFill>
                  <a:srgbClr val="000000"/>
                </a:solidFill>
              </a:rPr>
              <a:t>Distanzunterricht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8FCC746-10E3-CDBA-30B9-3384E39251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ecials der TZ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4E77217E-5FEF-DF22-4969-E89136C766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2450" y="807790"/>
            <a:ext cx="2699566" cy="2988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42B7C9B5-D618-AB77-3DD2-DD65452FBB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71" t="7692" r="12571" b="21706"/>
          <a:stretch/>
        </p:blipFill>
        <p:spPr bwMode="auto">
          <a:xfrm>
            <a:off x="5699524" y="3914057"/>
            <a:ext cx="2826614" cy="1999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38817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C18BD7-DF1C-79E0-6B11-2E7F2E49B8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E75893E-6ADA-03CA-1B6C-65840A1024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6B63C5-344B-446E-AEDA-8691B74430D7}" type="datetime1">
              <a:rPr lang="de-DE" smtClean="0"/>
              <a:t>22.09.2025</a:t>
            </a:fld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26DC2D5-1D31-BB95-AC42-ECEBE163F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9FF5718-E2EE-CE60-C6C2-EBC427BBC57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8086" y="1711685"/>
            <a:ext cx="5257800" cy="4125551"/>
          </a:xfrm>
        </p:spPr>
        <p:txBody>
          <a:bodyPr lIns="91440" tIns="45720" rIns="91440" bIns="45720" anchor="t"/>
          <a:lstStyle/>
          <a:p>
            <a:pPr fontAlgn="base">
              <a:lnSpc>
                <a:spcPts val="2850"/>
              </a:lnSpc>
            </a:pPr>
            <a:r>
              <a:rPr lang="de-DE" sz="2200" dirty="0">
                <a:solidFill>
                  <a:srgbClr val="000000"/>
                </a:solidFill>
              </a:rPr>
              <a:t>Bei unseren Kooperationspartnern haben Sie die Möglichkeit, </a:t>
            </a:r>
            <a:r>
              <a:rPr lang="de-DE" sz="2200" b="1" dirty="0">
                <a:solidFill>
                  <a:srgbClr val="000000"/>
                </a:solidFill>
              </a:rPr>
              <a:t>Bildungszeit an der </a:t>
            </a:r>
            <a:r>
              <a:rPr lang="de-DE" sz="2200" b="1" dirty="0" err="1">
                <a:solidFill>
                  <a:srgbClr val="000000"/>
                </a:solidFill>
              </a:rPr>
              <a:t>FakS</a:t>
            </a:r>
            <a:r>
              <a:rPr lang="de-DE" sz="2200" b="1" dirty="0">
                <a:solidFill>
                  <a:srgbClr val="000000"/>
                </a:solidFill>
              </a:rPr>
              <a:t> </a:t>
            </a:r>
            <a:r>
              <a:rPr lang="de-DE" sz="2200" dirty="0">
                <a:solidFill>
                  <a:srgbClr val="000000"/>
                </a:solidFill>
              </a:rPr>
              <a:t>vergütet zu bekommen </a:t>
            </a:r>
          </a:p>
          <a:p>
            <a:pPr fontAlgn="base">
              <a:lnSpc>
                <a:spcPts val="2850"/>
              </a:lnSpc>
            </a:pPr>
            <a:r>
              <a:rPr lang="de-DE" sz="2200" i="0" u="none" strike="noStrike" dirty="0">
                <a:solidFill>
                  <a:srgbClr val="000000"/>
                </a:solidFill>
                <a:effectLst/>
              </a:rPr>
              <a:t>Zu</a:t>
            </a:r>
            <a:r>
              <a:rPr lang="de-DE" sz="2200" dirty="0">
                <a:solidFill>
                  <a:srgbClr val="000000"/>
                </a:solidFill>
              </a:rPr>
              <a:t>gang zu unserer umfangreichen </a:t>
            </a:r>
            <a:r>
              <a:rPr lang="de-DE" sz="2200" b="1" dirty="0">
                <a:solidFill>
                  <a:srgbClr val="000000"/>
                </a:solidFill>
              </a:rPr>
              <a:t>Bibliothek</a:t>
            </a:r>
            <a:endParaRPr lang="de-DE" sz="2200" b="1" i="0" u="none" strike="noStrike" dirty="0">
              <a:solidFill>
                <a:srgbClr val="000000"/>
              </a:solidFill>
              <a:effectLst/>
            </a:endParaRPr>
          </a:p>
          <a:p>
            <a:pPr algn="l" rtl="0" fontAlgn="base">
              <a:lnSpc>
                <a:spcPts val="2850"/>
              </a:lnSpc>
              <a:buFont typeface="Arial" panose="020B0604020202020204" pitchFamily="34" charset="0"/>
              <a:buChar char="•"/>
            </a:pPr>
            <a:r>
              <a:rPr lang="de-DE" sz="2200" b="1" dirty="0">
                <a:solidFill>
                  <a:srgbClr val="000000"/>
                </a:solidFill>
              </a:rPr>
              <a:t>Exkursionen</a:t>
            </a:r>
            <a:r>
              <a:rPr lang="de-DE" sz="2200" dirty="0">
                <a:solidFill>
                  <a:srgbClr val="000000"/>
                </a:solidFill>
              </a:rPr>
              <a:t> zu interessanten pädagogischen Einrichtungen und Projekten</a:t>
            </a:r>
          </a:p>
          <a:p>
            <a:pPr algn="l" rtl="0" fontAlgn="base">
              <a:lnSpc>
                <a:spcPts val="2850"/>
              </a:lnSpc>
              <a:buFont typeface="Arial" panose="020B0604020202020204" pitchFamily="34" charset="0"/>
              <a:buChar char="•"/>
            </a:pPr>
            <a:r>
              <a:rPr lang="de-DE" sz="2200" b="1" dirty="0">
                <a:solidFill>
                  <a:srgbClr val="000000"/>
                </a:solidFill>
              </a:rPr>
              <a:t>Treffen mit Ihren MentorInnen </a:t>
            </a:r>
            <a:r>
              <a:rPr lang="de-DE" sz="2200" dirty="0">
                <a:solidFill>
                  <a:srgbClr val="000000"/>
                </a:solidFill>
              </a:rPr>
              <a:t>an der </a:t>
            </a:r>
            <a:r>
              <a:rPr lang="de-DE" sz="2200" dirty="0" err="1">
                <a:solidFill>
                  <a:srgbClr val="000000"/>
                </a:solidFill>
              </a:rPr>
              <a:t>FakS</a:t>
            </a:r>
            <a:endParaRPr lang="de-DE" sz="2200" dirty="0">
              <a:solidFill>
                <a:srgbClr val="000000"/>
              </a:solidFill>
            </a:endParaRPr>
          </a:p>
          <a:p>
            <a:pPr algn="l" rtl="0" fontAlgn="base">
              <a:lnSpc>
                <a:spcPts val="2850"/>
              </a:lnSpc>
              <a:buFont typeface="Arial" panose="020B0604020202020204" pitchFamily="34" charset="0"/>
              <a:buChar char="•"/>
            </a:pPr>
            <a:r>
              <a:rPr lang="de-DE" sz="2200" b="1" i="0" dirty="0">
                <a:solidFill>
                  <a:srgbClr val="000000"/>
                </a:solidFill>
                <a:effectLst/>
              </a:rPr>
              <a:t>TZ-Events</a:t>
            </a:r>
            <a:r>
              <a:rPr lang="de-DE" sz="2200" i="0" dirty="0">
                <a:solidFill>
                  <a:srgbClr val="000000"/>
                </a:solidFill>
                <a:effectLst/>
              </a:rPr>
              <a:t> wie Besuch der Freilichtbühne</a:t>
            </a:r>
          </a:p>
          <a:p>
            <a:pPr algn="l" rtl="0" fontAlgn="base">
              <a:lnSpc>
                <a:spcPts val="2850"/>
              </a:lnSpc>
              <a:buFont typeface="Arial" panose="020B0604020202020204" pitchFamily="34" charset="0"/>
              <a:buChar char="•"/>
            </a:pPr>
            <a:endParaRPr lang="en-US" sz="2200" b="1" i="0" dirty="0">
              <a:solidFill>
                <a:srgbClr val="000000"/>
              </a:solidFill>
              <a:effectLst/>
            </a:endParaRPr>
          </a:p>
          <a:p>
            <a:pPr marL="457200" lvl="1" indent="0" fontAlgn="base">
              <a:lnSpc>
                <a:spcPts val="2850"/>
              </a:lnSpc>
              <a:buNone/>
            </a:pPr>
            <a:endParaRPr lang="de-DE" sz="1400" dirty="0">
              <a:solidFill>
                <a:srgbClr val="000000"/>
              </a:solidFill>
            </a:endParaRPr>
          </a:p>
          <a:p>
            <a:pPr lvl="1" fontAlgn="base">
              <a:lnSpc>
                <a:spcPts val="2850"/>
              </a:lnSpc>
            </a:pPr>
            <a:endParaRPr lang="de-DE" b="0" i="0" dirty="0">
              <a:solidFill>
                <a:srgbClr val="000000"/>
              </a:solidFill>
              <a:effectLst/>
            </a:endParaRPr>
          </a:p>
          <a:p>
            <a:pPr algn="l" rtl="0" fontAlgn="base">
              <a:lnSpc>
                <a:spcPts val="2850"/>
              </a:lnSpc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A523FBA-E400-7FCD-B032-6A2E6A18F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ecials der TZ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ECC97FE0-3B6E-4653-A448-C3CCFC9977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71" t="7692" r="12571" b="21706"/>
          <a:stretch/>
        </p:blipFill>
        <p:spPr bwMode="auto">
          <a:xfrm>
            <a:off x="7077402" y="4352503"/>
            <a:ext cx="915379" cy="647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5446F749-B34A-1AE0-10EF-09A45549FC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286" b="4103"/>
          <a:stretch/>
        </p:blipFill>
        <p:spPr bwMode="auto">
          <a:xfrm>
            <a:off x="5676376" y="1330413"/>
            <a:ext cx="2899272" cy="2432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C0CC1D38-BDC1-394A-EEDD-ECCF3537DC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1862" y="3813640"/>
            <a:ext cx="2899272" cy="2174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69954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E51B2B-396D-F5FD-1913-279BECCDC6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8A8162-F3A6-AF9D-11A1-6DB87D2549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6B63C5-344B-446E-AEDA-8691B74430D7}" type="datetime1">
              <a:rPr lang="de-DE" smtClean="0"/>
              <a:t>22.09.2025</a:t>
            </a:fld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BA37D4E-F013-CBCD-FA58-52E6E6931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F7D3C1D-8CB0-8D08-1A57-57B3AC68CCD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8086" y="1787887"/>
            <a:ext cx="5257800" cy="4125551"/>
          </a:xfrm>
        </p:spPr>
        <p:txBody>
          <a:bodyPr/>
          <a:lstStyle/>
          <a:p>
            <a:pPr algn="l" rtl="0" fontAlgn="base">
              <a:lnSpc>
                <a:spcPts val="2850"/>
              </a:lnSpc>
              <a:buFont typeface="Arial" panose="020B0604020202020204" pitchFamily="34" charset="0"/>
              <a:buChar char="•"/>
            </a:pPr>
            <a:r>
              <a:rPr lang="de-DE" sz="2200" b="1" dirty="0">
                <a:solidFill>
                  <a:srgbClr val="000000"/>
                </a:solidFill>
              </a:rPr>
              <a:t>Fachtag der TZ </a:t>
            </a:r>
            <a:r>
              <a:rPr lang="de-DE" sz="2200" dirty="0">
                <a:solidFill>
                  <a:srgbClr val="000000"/>
                </a:solidFill>
              </a:rPr>
              <a:t>mit interessanten Themen und Vortragenden</a:t>
            </a:r>
            <a:endParaRPr lang="de-DE" sz="2200" i="0" u="none" strike="noStrike" dirty="0">
              <a:solidFill>
                <a:srgbClr val="000000"/>
              </a:solidFill>
              <a:effectLst/>
            </a:endParaRPr>
          </a:p>
          <a:p>
            <a:pPr algn="l" rtl="0" fontAlgn="base">
              <a:lnSpc>
                <a:spcPts val="2850"/>
              </a:lnSpc>
              <a:buFont typeface="Arial" panose="020B0604020202020204" pitchFamily="34" charset="0"/>
              <a:buChar char="•"/>
            </a:pPr>
            <a:r>
              <a:rPr lang="de-DE" sz="2200" i="0" u="none" strike="noStrike" dirty="0">
                <a:solidFill>
                  <a:srgbClr val="000000"/>
                </a:solidFill>
                <a:effectLst/>
              </a:rPr>
              <a:t>TZ-Ensemble</a:t>
            </a:r>
            <a:r>
              <a:rPr lang="de-DE" sz="2200" b="1" i="0" u="none" strike="noStrike" dirty="0">
                <a:solidFill>
                  <a:srgbClr val="000000"/>
                </a:solidFill>
                <a:effectLst/>
              </a:rPr>
              <a:t> „Band und Song“</a:t>
            </a:r>
          </a:p>
          <a:p>
            <a:pPr algn="l" rtl="0" fontAlgn="base">
              <a:lnSpc>
                <a:spcPts val="2850"/>
              </a:lnSpc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0000"/>
                </a:solidFill>
              </a:rPr>
              <a:t>Möglichkeit der Förderung von Auslandspraktika oder Studienfahrten über</a:t>
            </a:r>
            <a:r>
              <a:rPr lang="de-DE" sz="2200" b="1" dirty="0">
                <a:solidFill>
                  <a:srgbClr val="000000"/>
                </a:solidFill>
              </a:rPr>
              <a:t> Erasmus+</a:t>
            </a:r>
            <a:endParaRPr lang="de-DE" sz="2200" b="1" i="0" u="none" strike="noStrike" dirty="0">
              <a:solidFill>
                <a:srgbClr val="000000"/>
              </a:solidFill>
              <a:effectLst/>
            </a:endParaRPr>
          </a:p>
          <a:p>
            <a:pPr algn="l" rtl="0" fontAlgn="base">
              <a:lnSpc>
                <a:spcPts val="2850"/>
              </a:lnSpc>
              <a:buFont typeface="Arial" panose="020B0604020202020204" pitchFamily="34" charset="0"/>
              <a:buChar char="•"/>
            </a:pPr>
            <a:r>
              <a:rPr lang="de-DE" sz="2200" b="1" i="0" u="none" strike="noStrike" dirty="0">
                <a:solidFill>
                  <a:srgbClr val="000000"/>
                </a:solidFill>
                <a:effectLst/>
              </a:rPr>
              <a:t>Zusatzzertifikate: </a:t>
            </a:r>
          </a:p>
          <a:p>
            <a:pPr lvl="1" fontAlgn="base">
              <a:lnSpc>
                <a:spcPts val="2850"/>
              </a:lnSpc>
            </a:pPr>
            <a:r>
              <a:rPr lang="de-DE" b="0" i="0" u="none" strike="noStrike" dirty="0">
                <a:solidFill>
                  <a:srgbClr val="000000"/>
                </a:solidFill>
                <a:effectLst/>
              </a:rPr>
              <a:t>Marte Meo </a:t>
            </a:r>
            <a:r>
              <a:rPr lang="de-DE" b="0" i="0" u="none" strike="noStrike" dirty="0" err="1">
                <a:solidFill>
                  <a:srgbClr val="000000"/>
                </a:solidFill>
                <a:effectLst/>
              </a:rPr>
              <a:t>Practitioner</a:t>
            </a:r>
            <a:endParaRPr lang="de-DE" b="0" i="0" u="none" strike="noStrike" dirty="0">
              <a:solidFill>
                <a:srgbClr val="000000"/>
              </a:solidFill>
              <a:effectLst/>
            </a:endParaRPr>
          </a:p>
          <a:p>
            <a:pPr lvl="1" fontAlgn="base">
              <a:lnSpc>
                <a:spcPts val="2850"/>
              </a:lnSpc>
            </a:pPr>
            <a:r>
              <a:rPr lang="de-DE" dirty="0">
                <a:solidFill>
                  <a:srgbClr val="000000"/>
                </a:solidFill>
              </a:rPr>
              <a:t>Übungsleiter C Kinderturnen</a:t>
            </a:r>
          </a:p>
          <a:p>
            <a:pPr lvl="1" fontAlgn="base">
              <a:lnSpc>
                <a:spcPts val="2850"/>
              </a:lnSpc>
            </a:pPr>
            <a:r>
              <a:rPr lang="de-DE" dirty="0">
                <a:solidFill>
                  <a:srgbClr val="000000"/>
                </a:solidFill>
              </a:rPr>
              <a:t>Religionspädagogische Zusatzausbildung</a:t>
            </a:r>
          </a:p>
          <a:p>
            <a:pPr marL="457200" lvl="1" indent="0" fontAlgn="base">
              <a:lnSpc>
                <a:spcPts val="2850"/>
              </a:lnSpc>
              <a:buNone/>
            </a:pPr>
            <a:endParaRPr lang="de-DE" sz="1400" dirty="0">
              <a:solidFill>
                <a:srgbClr val="000000"/>
              </a:solidFill>
            </a:endParaRPr>
          </a:p>
          <a:p>
            <a:pPr lvl="1" fontAlgn="base">
              <a:lnSpc>
                <a:spcPts val="2850"/>
              </a:lnSpc>
            </a:pPr>
            <a:endParaRPr lang="de-DE" b="0" i="0" dirty="0">
              <a:solidFill>
                <a:srgbClr val="000000"/>
              </a:solidFill>
              <a:effectLst/>
            </a:endParaRP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FC52F54-C947-8D4A-4F84-6CE74D44F1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ecials der TZ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7FDAFEC-C1C2-726A-3B80-A8E9EDBD1A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81" t="11517" r="11262"/>
          <a:stretch/>
        </p:blipFill>
        <p:spPr bwMode="auto">
          <a:xfrm>
            <a:off x="5832449" y="3641582"/>
            <a:ext cx="2728685" cy="2296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5E03E93-E7FE-F051-80F7-C5265A498D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2449" y="1560827"/>
            <a:ext cx="2728685" cy="2046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4525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C16929-2E6F-448E-B7A3-482699B45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ctr">
            <a:normAutofit fontScale="90000"/>
          </a:bodyPr>
          <a:lstStyle/>
          <a:p>
            <a:br>
              <a:rPr lang="de-DE" dirty="0"/>
            </a:br>
            <a:r>
              <a:rPr lang="de-DE" sz="4700" dirty="0"/>
              <a:t>Wir freuen uns auf Ihre aussagekräftige Bewerbung.</a:t>
            </a:r>
            <a:br>
              <a:rPr lang="de-DE" dirty="0"/>
            </a:br>
            <a:br>
              <a:rPr lang="de-DE" dirty="0"/>
            </a:br>
            <a:r>
              <a:rPr lang="de-DE" dirty="0"/>
              <a:t>Kontaktieren Sie uns gerne</a:t>
            </a:r>
            <a:br>
              <a:rPr lang="de-DE" dirty="0"/>
            </a:br>
            <a:r>
              <a:rPr lang="de-DE" dirty="0"/>
              <a:t>bei Fragen zur Teilzeitausbildung!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1E6E784-D841-44FB-A7E8-91F6E6FA19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4505552"/>
            <a:ext cx="6858000" cy="1655762"/>
          </a:xfrm>
        </p:spPr>
        <p:txBody>
          <a:bodyPr/>
          <a:lstStyle/>
          <a:p>
            <a:pPr algn="l">
              <a:spcBef>
                <a:spcPts val="375"/>
              </a:spcBef>
              <a:spcAft>
                <a:spcPts val="375"/>
              </a:spcAft>
            </a:pPr>
            <a:endParaRPr lang="de-DE" b="0" i="0" u="none" strike="noStrike" dirty="0">
              <a:effectLst/>
              <a:latin typeface="Source Sans Pro" panose="020B0503030403020204" pitchFamily="34" charset="0"/>
            </a:endParaRPr>
          </a:p>
          <a:p>
            <a:pPr algn="l">
              <a:spcBef>
                <a:spcPts val="375"/>
              </a:spcBef>
              <a:spcAft>
                <a:spcPts val="375"/>
              </a:spcAft>
            </a:pPr>
            <a:r>
              <a:rPr lang="de-DE" b="0" i="0" u="none" strike="noStrike" dirty="0">
                <a:effectLst/>
                <a:latin typeface="Source Sans Pro" panose="020B0503030403020204" pitchFamily="34" charset="0"/>
              </a:rPr>
              <a:t>Leiterin der Fachakademie : Frau Wunderle</a:t>
            </a:r>
          </a:p>
          <a:p>
            <a:pPr algn="l">
              <a:spcBef>
                <a:spcPts val="375"/>
              </a:spcBef>
              <a:spcAft>
                <a:spcPts val="375"/>
              </a:spcAft>
            </a:pPr>
            <a:r>
              <a:rPr lang="de-DE" b="0" i="0" u="none" strike="noStrike" dirty="0">
                <a:effectLst/>
                <a:latin typeface="Source Sans Pro" panose="020B0503030403020204" pitchFamily="34" charset="0"/>
              </a:rPr>
              <a:t>Email: </a:t>
            </a:r>
            <a:r>
              <a:rPr lang="de-DE" b="1" i="0" u="none" strike="noStrike" dirty="0">
                <a:effectLst/>
                <a:latin typeface="Source Sans Pro" panose="020B0503030403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kretariat@faks-augsburg.de</a:t>
            </a:r>
            <a:br>
              <a:rPr lang="de-DE" b="0" i="0" u="none" strike="noStrike" dirty="0">
                <a:effectLst/>
                <a:latin typeface="Source Sans Pro" panose="020B0503030403020204" pitchFamily="34" charset="0"/>
              </a:rPr>
            </a:br>
            <a:r>
              <a:rPr lang="de-DE" b="0" i="0" u="none" strike="noStrike" dirty="0">
                <a:effectLst/>
                <a:latin typeface="Source Sans Pro" panose="020B0503030403020204" pitchFamily="34" charset="0"/>
              </a:rPr>
              <a:t>Tel.:  </a:t>
            </a:r>
            <a:r>
              <a:rPr lang="de-DE" b="1" i="0" u="none" strike="noStrike" dirty="0">
                <a:effectLst/>
                <a:latin typeface="Source Sans Pro" panose="020B0503030403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+49 (0)821/4558-16000</a:t>
            </a:r>
            <a:endParaRPr lang="de-DE" b="0" i="0" u="none" strike="noStrike" dirty="0">
              <a:effectLst/>
              <a:latin typeface="Source Sans Pro" panose="020B0503030403020204" pitchFamily="34" charset="0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3730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144981-6013-958F-6853-BB1A8D200D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sere Teilzeitausbildung  - „TZ“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F3E731-544D-8FC0-95EF-EF4A36708E8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2AB3E9F-D3D2-48DE-8F62-ED5413FA7116}" type="datetime1">
              <a:rPr lang="de-DE" smtClean="0"/>
              <a:t>22.09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3D3959-263F-49EA-CA41-7D18B1841F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83DEDB7-21F5-70E5-25E8-A0A889058B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ür alle, die Beruf, Familie und Ausbildung miteinander vereinbaren woll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E32C66-0B90-5D25-BB3B-1FADB63F1935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 algn="ctr">
              <a:buNone/>
            </a:pPr>
            <a:endParaRPr lang="de-DE" sz="2000" b="1" dirty="0">
              <a:latin typeface="+mj-lt"/>
            </a:endParaRPr>
          </a:p>
          <a:p>
            <a:pPr marL="0" indent="0">
              <a:buNone/>
            </a:pPr>
            <a:endParaRPr lang="de-DE" sz="2000" dirty="0">
              <a:latin typeface="+mj-lt"/>
            </a:endParaRPr>
          </a:p>
          <a:p>
            <a:pPr marL="0" indent="0">
              <a:buNone/>
            </a:pPr>
            <a:endParaRPr lang="de-DE" dirty="0"/>
          </a:p>
        </p:txBody>
      </p:sp>
      <p:graphicFrame>
        <p:nvGraphicFramePr>
          <p:cNvPr id="11" name="Diagramm 10">
            <a:extLst>
              <a:ext uri="{FF2B5EF4-FFF2-40B4-BE49-F238E27FC236}">
                <a16:creationId xmlns:a16="http://schemas.microsoft.com/office/drawing/2014/main" id="{011EB384-96C5-2358-D957-BD4D1B4799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199963"/>
              </p:ext>
            </p:extLst>
          </p:nvPr>
        </p:nvGraphicFramePr>
        <p:xfrm>
          <a:off x="888521" y="2332038"/>
          <a:ext cx="6616461" cy="3273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363216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AADACF-03BB-4A2B-D74B-D995CAFD67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i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83499B6-D4A2-B87E-2249-96D77E31537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2AB3E9F-D3D2-48DE-8F62-ED5413FA7116}" type="datetime1">
              <a:rPr lang="de-DE" smtClean="0"/>
              <a:t>22.09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DFF518-02D1-6626-7103-39ABA1D622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B7BBF6C-4A98-6D8E-2523-5426391748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DE90E96-B9AD-F43B-8BAF-6A8C2A27F8D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1187" y="2024063"/>
            <a:ext cx="8096877" cy="3889375"/>
          </a:xfrm>
        </p:spPr>
        <p:txBody>
          <a:bodyPr lIns="91440" tIns="45720" rIns="91440" bIns="45720" anchor="t"/>
          <a:lstStyle/>
          <a:p>
            <a:pPr marL="0" indent="0">
              <a:buNone/>
            </a:pPr>
            <a:r>
              <a:rPr lang="de-DE" dirty="0"/>
              <a:t>Staatlich anerkannte Erzieherin / staatlich anerkannter Erzieher (pädagogische Fachkraft)</a:t>
            </a:r>
          </a:p>
          <a:p>
            <a:pPr marL="0" indent="0">
              <a:spcBef>
                <a:spcPts val="0"/>
              </a:spcBef>
              <a:buNone/>
            </a:pPr>
            <a:endParaRPr lang="de-DE" dirty="0"/>
          </a:p>
          <a:p>
            <a:pPr marL="0" indent="0">
              <a:spcBef>
                <a:spcPts val="0"/>
              </a:spcBef>
              <a:buNone/>
            </a:pPr>
            <a:r>
              <a:rPr lang="de-DE" dirty="0"/>
              <a:t>Ab 1,5 Studienjahren: Zertifikat, damit die Stelle einen Antrag zur Anstellung als pädagogische Ergänzungskraft stellen kann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Möglich: Fachhochschulreife / Fachgebundene  </a:t>
            </a:r>
          </a:p>
          <a:p>
            <a:pPr marL="0" indent="0">
              <a:buNone/>
            </a:pPr>
            <a:r>
              <a:rPr lang="de-DE" dirty="0"/>
              <a:t>              Hochschulreife</a:t>
            </a:r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41771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226FEE-29B7-8059-1828-D884FE4B5F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Zugang zur </a:t>
            </a:r>
            <a:r>
              <a:rPr lang="de-DE" dirty="0" err="1"/>
              <a:t>Fak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B589C6C-77AB-02FB-59FD-8CC477BE320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2AB3E9F-D3D2-48DE-8F62-ED5413FA7116}" type="datetime1">
              <a:rPr lang="de-DE" smtClean="0"/>
              <a:t>22.09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15FE677-E232-5310-E9D8-1EF435FCF4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379211-758B-1E6B-C879-8BF9A9036A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6990A06-00A2-5541-FE91-36E71FBCD1F2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>
              <a:buFontTx/>
              <a:buChar char="-"/>
            </a:pPr>
            <a:endParaRPr lang="de-DE" dirty="0"/>
          </a:p>
          <a:p>
            <a:pPr>
              <a:buFontTx/>
              <a:buChar char="-"/>
            </a:pPr>
            <a:r>
              <a:rPr lang="de-DE" dirty="0"/>
              <a:t>KinderpflegerInnen</a:t>
            </a:r>
          </a:p>
          <a:p>
            <a:pPr>
              <a:buFontTx/>
              <a:buChar char="-"/>
            </a:pPr>
            <a:r>
              <a:rPr lang="de-DE" dirty="0"/>
              <a:t>mind. mittlerer Bildungsabschluss und abgeschlossene Ausbildung (Seiteneinstieg)</a:t>
            </a:r>
          </a:p>
          <a:p>
            <a:pPr>
              <a:buFontTx/>
              <a:buChar char="-"/>
            </a:pPr>
            <a:r>
              <a:rPr lang="de-DE" dirty="0"/>
              <a:t>Fachabitur oder Abitur plus Praktikum / FSJ</a:t>
            </a:r>
          </a:p>
          <a:p>
            <a:pPr>
              <a:buFontTx/>
              <a:buChar char="-"/>
            </a:pPr>
            <a:r>
              <a:rPr lang="de-DE" dirty="0"/>
              <a:t>über SEJ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F90944A-06E3-3C3F-204B-2A9398F634C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9055"/>
          <a:stretch/>
        </p:blipFill>
        <p:spPr>
          <a:xfrm>
            <a:off x="4300856" y="-1706"/>
            <a:ext cx="4843144" cy="320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241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AA5B7A7-4739-4D95-A023-F066FA6E24B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68CACA2-E921-4094-9FDA-189F0C69B221}" type="datetime1">
              <a:rPr lang="de-DE" smtClean="0"/>
              <a:t>22.09.2025</a:t>
            </a:fld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EBBB4F6-EF2F-4096-A5E1-AB119EA5D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D1642AC-C2EF-4CBF-BF15-EFB43E104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Ausbildungsweg mit </a:t>
            </a:r>
            <a:r>
              <a:rPr lang="de-DE" b="1" dirty="0"/>
              <a:t>(Fach-)Abitur </a:t>
            </a:r>
            <a:r>
              <a:rPr lang="de-DE" dirty="0"/>
              <a:t>oder einer </a:t>
            </a:r>
            <a:r>
              <a:rPr lang="de-DE" b="1" dirty="0"/>
              <a:t>abgeschlossenen Berufsausbildung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B8E31EA7-9C9E-4055-A798-B8801518BA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7209180"/>
              </p:ext>
            </p:extLst>
          </p:nvPr>
        </p:nvGraphicFramePr>
        <p:xfrm>
          <a:off x="1523603" y="1697789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472311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49DA75-C744-7D91-720A-CDDF7D6BE6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5809DF-D9A8-A8D6-EAFE-273E7A09A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NEU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769AE8A-7025-F2A9-6A16-4F6E4907CCD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2AB3E9F-D3D2-48DE-8F62-ED5413FA7116}" type="datetime1">
              <a:rPr lang="de-DE" smtClean="0"/>
              <a:t>22.09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9F9361-855A-28AC-081B-8E84EEB50F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A585E4-14C2-D68A-99E5-4F7EE48892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ür Studierende mit (Fach-)Abitur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E9E05C4-DFE1-CB12-F23D-9F0E5C93F951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Kooperation mit Partnerhochschule FHM</a:t>
            </a:r>
          </a:p>
          <a:p>
            <a:pPr marL="0" indent="0">
              <a:buNone/>
            </a:pPr>
            <a:r>
              <a:rPr lang="de-DE" dirty="0"/>
              <a:t>	Bachelor Soziale Arbeit und Management (B.A.) 	im Fernstudium ausbildungsbegleitend</a:t>
            </a:r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26543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BA1D4C-CB49-2390-C843-1384E6A5C8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ADBF59-A2E4-7FCF-F683-1A2C0DD88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Unterrichtszeiten der TZ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8C538B6-33FA-859E-54FD-ECE9AAE4647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2AB3E9F-D3D2-48DE-8F62-ED5413FA7116}" type="datetime1">
              <a:rPr lang="de-DE" smtClean="0"/>
              <a:t>22.09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0793803-A7F9-CF59-6723-315201919C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9BE6B82-3DF9-D8C4-15B8-50965BD019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479BDB3-2130-79F3-70D5-592DC26C3CF9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Donnerstag, 8.45 – 13.00 Uhr, </a:t>
            </a:r>
          </a:p>
          <a:p>
            <a:pPr marL="0" indent="0">
              <a:buNone/>
            </a:pPr>
            <a:r>
              <a:rPr lang="de-DE" sz="1800" dirty="0"/>
              <a:t>an einigen Donnerstagen Wahlpflichtkurse (Übungen): </a:t>
            </a:r>
            <a:r>
              <a:rPr lang="de-DE" dirty="0"/>
              <a:t>13.45 – 16.00 Uhr 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Freitag, 14.00 – 19.45 Uhr</a:t>
            </a:r>
          </a:p>
          <a:p>
            <a:pPr marL="0" indent="0">
              <a:buNone/>
            </a:pPr>
            <a:r>
              <a:rPr lang="de-DE" dirty="0"/>
              <a:t>Samstag, 8.00 – 13 Uhr</a:t>
            </a:r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83733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D68A384-D153-03A4-7692-5C6DA18E480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4CF9A07-79C5-4A39-A1F8-0D1EBB946288}" type="datetime1">
              <a:rPr lang="de-DE" smtClean="0"/>
              <a:t>22.09.2025</a:t>
            </a:fld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8FE9CDE-BAA2-A5B1-E625-1C92C57C76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8</a:t>
            </a:fld>
            <a:endParaRPr lang="de-DE"/>
          </a:p>
        </p:txBody>
      </p:sp>
      <p:pic>
        <p:nvPicPr>
          <p:cNvPr id="5" name="Grafik 4" descr="Ein Bild, das Vorhang, sitzend, drinnen, Person enthält.&#10;&#10;Automatisch generierte Beschreibung">
            <a:extLst>
              <a:ext uri="{FF2B5EF4-FFF2-40B4-BE49-F238E27FC236}">
                <a16:creationId xmlns:a16="http://schemas.microsoft.com/office/drawing/2014/main" id="{9FEC6F18-1DB6-BE53-EE45-77EC647F8F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771" y="700780"/>
            <a:ext cx="3789093" cy="2526282"/>
          </a:xfrm>
          <a:prstGeom prst="rect">
            <a:avLst/>
          </a:prstGeom>
        </p:spPr>
      </p:pic>
      <p:pic>
        <p:nvPicPr>
          <p:cNvPr id="7" name="Grafik 6" descr="Ein Bild, das Text, Person, Boden, Wand enthält.&#10;&#10;Automatisch generierte Beschreibung">
            <a:extLst>
              <a:ext uri="{FF2B5EF4-FFF2-40B4-BE49-F238E27FC236}">
                <a16:creationId xmlns:a16="http://schemas.microsoft.com/office/drawing/2014/main" id="{FEBD81D7-507D-D129-714B-3EBA8BAE67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4143" y="3410539"/>
            <a:ext cx="3789094" cy="2526063"/>
          </a:xfrm>
          <a:prstGeom prst="rect">
            <a:avLst/>
          </a:prstGeom>
        </p:spPr>
      </p:pic>
      <p:pic>
        <p:nvPicPr>
          <p:cNvPr id="9" name="Grafik 8" descr="Ein Bild, das Text, Person, drinnen, Gruppe enthält.&#10;&#10;Automatisch generierte Beschreibung">
            <a:extLst>
              <a:ext uri="{FF2B5EF4-FFF2-40B4-BE49-F238E27FC236}">
                <a16:creationId xmlns:a16="http://schemas.microsoft.com/office/drawing/2014/main" id="{E83219AC-D7E9-6090-7032-D602F9BEA2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74" y="3460821"/>
            <a:ext cx="3713672" cy="2475781"/>
          </a:xfrm>
          <a:prstGeom prst="rect">
            <a:avLst/>
          </a:prstGeom>
        </p:spPr>
      </p:pic>
      <p:pic>
        <p:nvPicPr>
          <p:cNvPr id="11" name="Grafik 10" descr="Ein Bild, das Text, drinnen, Buch, Regal enthält.&#10;&#10;Automatisch generierte Beschreibung">
            <a:extLst>
              <a:ext uri="{FF2B5EF4-FFF2-40B4-BE49-F238E27FC236}">
                <a16:creationId xmlns:a16="http://schemas.microsoft.com/office/drawing/2014/main" id="{A999D6EF-9C0A-A798-1B38-151DC072E9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4144" y="701192"/>
            <a:ext cx="3789093" cy="2525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2149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F709CCE-6AA7-7A95-769C-60B9AEAFC93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4CF9A07-79C5-4A39-A1F8-0D1EBB946288}" type="datetime1">
              <a:rPr lang="de-DE" smtClean="0"/>
              <a:t>22.09.2025</a:t>
            </a:fld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539AFFF-4495-1572-E70E-F71FE594C4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AD15E-265B-4C42-B721-64F32F1323FB}" type="slidenum">
              <a:rPr lang="de-DE" smtClean="0"/>
              <a:pPr/>
              <a:t>9</a:t>
            </a:fld>
            <a:endParaRPr lang="de-DE"/>
          </a:p>
        </p:txBody>
      </p:sp>
      <p:pic>
        <p:nvPicPr>
          <p:cNvPr id="5" name="Grafik 4" descr="Ein Bild, das Person, drinnen, Boden, Raum enthält.&#10;&#10;Automatisch generierte Beschreibung">
            <a:extLst>
              <a:ext uri="{FF2B5EF4-FFF2-40B4-BE49-F238E27FC236}">
                <a16:creationId xmlns:a16="http://schemas.microsoft.com/office/drawing/2014/main" id="{5ADDFA3C-B073-2090-436F-EF64F98455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34" y="612134"/>
            <a:ext cx="3621044" cy="2414300"/>
          </a:xfrm>
          <a:prstGeom prst="rect">
            <a:avLst/>
          </a:prstGeom>
        </p:spPr>
      </p:pic>
      <p:pic>
        <p:nvPicPr>
          <p:cNvPr id="9" name="Grafik 8" descr="Ein Bild, das Text, Person, computer, Computer enthält.&#10;&#10;Automatisch generierte Beschreibung">
            <a:extLst>
              <a:ext uri="{FF2B5EF4-FFF2-40B4-BE49-F238E27FC236}">
                <a16:creationId xmlns:a16="http://schemas.microsoft.com/office/drawing/2014/main" id="{D4C94465-D70F-5EBF-519A-3C3F1A869B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8649" y="3286663"/>
            <a:ext cx="3761117" cy="2507411"/>
          </a:xfrm>
          <a:prstGeom prst="rect">
            <a:avLst/>
          </a:prstGeom>
        </p:spPr>
      </p:pic>
      <p:pic>
        <p:nvPicPr>
          <p:cNvPr id="11" name="Grafik 10" descr="Ein Bild, das draußen, Veranda enthält.&#10;&#10;Automatisch generierte Beschreibung">
            <a:extLst>
              <a:ext uri="{FF2B5EF4-FFF2-40B4-BE49-F238E27FC236}">
                <a16:creationId xmlns:a16="http://schemas.microsoft.com/office/drawing/2014/main" id="{CD4B638A-0FBA-D7CD-81AA-BB06BD30FD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649" y="3286663"/>
            <a:ext cx="3920703" cy="2507411"/>
          </a:xfrm>
          <a:prstGeom prst="rect">
            <a:avLst/>
          </a:prstGeom>
        </p:spPr>
      </p:pic>
      <p:pic>
        <p:nvPicPr>
          <p:cNvPr id="13" name="Grafik 12" descr="Ein Bild, das Baum, draußen, Gras, Kind enthält.&#10;&#10;Automatisch generierte Beschreibung">
            <a:extLst>
              <a:ext uri="{FF2B5EF4-FFF2-40B4-BE49-F238E27FC236}">
                <a16:creationId xmlns:a16="http://schemas.microsoft.com/office/drawing/2014/main" id="{F37C31D5-891E-A813-3058-60F56A1E87B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8649" y="519023"/>
            <a:ext cx="3761117" cy="2507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7604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pi4oZdAEinfgmgzqQu8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apS1o68X.LlPvaHvrr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8DPTsxCsXEZHidGy67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8g982hEjRKUziovDJd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2 - Präsentation">
  <a:themeElements>
    <a:clrScheme name="Schulwerk">
      <a:dk1>
        <a:sysClr val="windowText" lastClr="000000"/>
      </a:dk1>
      <a:lt1>
        <a:sysClr val="window" lastClr="FFFFFF"/>
      </a:lt1>
      <a:dk2>
        <a:srgbClr val="1A68AA"/>
      </a:dk2>
      <a:lt2>
        <a:srgbClr val="565D63"/>
      </a:lt2>
      <a:accent1>
        <a:srgbClr val="1A68AA"/>
      </a:accent1>
      <a:accent2>
        <a:srgbClr val="565D63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enutzerdefiniert 1">
      <a:majorFont>
        <a:latin typeface="Source Sans Pro Light"/>
        <a:ea typeface=""/>
        <a:cs typeface=""/>
      </a:majorFont>
      <a:minorFont>
        <a:latin typeface="Garamon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hulwerk Augsburg" id="{5723C05A-75F2-4BD3-96BE-7A3D01F213C1}" vid="{13103303-D725-4F43-9393-81FF5807615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2d562a3-3282-4415-a8c9-ffd5193c2331">
      <Terms xmlns="http://schemas.microsoft.com/office/infopath/2007/PartnerControls"/>
    </lcf76f155ced4ddcb4097134ff3c332f>
    <TaxCatchAll xmlns="90d6ecf8-2d72-43f9-bbad-3a11290b8f3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C4D3D632641B040838921D2112A5ACE" ma:contentTypeVersion="14" ma:contentTypeDescription="Ein neues Dokument erstellen." ma:contentTypeScope="" ma:versionID="e842613e1098a88a9d26326720995cc9">
  <xsd:schema xmlns:xsd="http://www.w3.org/2001/XMLSchema" xmlns:xs="http://www.w3.org/2001/XMLSchema" xmlns:p="http://schemas.microsoft.com/office/2006/metadata/properties" xmlns:ns2="12d562a3-3282-4415-a8c9-ffd5193c2331" xmlns:ns3="90d6ecf8-2d72-43f9-bbad-3a11290b8f3d" targetNamespace="http://schemas.microsoft.com/office/2006/metadata/properties" ma:root="true" ma:fieldsID="ec531a32a5d6c4bad0c8d72c9ef2b7f7" ns2:_="" ns3:_="">
    <xsd:import namespace="12d562a3-3282-4415-a8c9-ffd5193c2331"/>
    <xsd:import namespace="90d6ecf8-2d72-43f9-bbad-3a11290b8f3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d562a3-3282-4415-a8c9-ffd5193c233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Bildmarkierungen" ma:readOnly="false" ma:fieldId="{5cf76f15-5ced-4ddc-b409-7134ff3c332f}" ma:taxonomyMulti="true" ma:sspId="0f020fba-fe49-4d83-9e02-3da0fa3e24e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d6ecf8-2d72-43f9-bbad-3a11290b8f3d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99118a7e-e680-4449-9200-e76bb68b2b6b}" ma:internalName="TaxCatchAll" ma:showField="CatchAllData" ma:web="90d6ecf8-2d72-43f9-bbad-3a11290b8f3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2357DF-7C36-4547-8C5E-02E86F220D21}">
  <ds:schemaRefs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90d6ecf8-2d72-43f9-bbad-3a11290b8f3d"/>
    <ds:schemaRef ds:uri="12d562a3-3282-4415-a8c9-ffd5193c233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A7236F4A-06E1-4CA6-8767-58226B963D2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FD399D9-7AED-44BE-B16F-0A543699CD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2d562a3-3282-4415-a8c9-ffd5193c2331"/>
    <ds:schemaRef ds:uri="90d6ecf8-2d72-43f9-bbad-3a11290b8f3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4 - Präsentation</Template>
  <TotalTime>0</TotalTime>
  <Words>608</Words>
  <Application>Microsoft Office PowerPoint</Application>
  <PresentationFormat>Bildschirmpräsentation (4:3)</PresentationFormat>
  <Paragraphs>133</Paragraphs>
  <Slides>1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5" baseType="lpstr">
      <vt:lpstr>Source Sans Pro Bold</vt:lpstr>
      <vt:lpstr>Source Sans Pro Light (Überschriften)</vt:lpstr>
      <vt:lpstr>Source Sans Pro Light</vt:lpstr>
      <vt:lpstr>Calibri</vt:lpstr>
      <vt:lpstr>Arial</vt:lpstr>
      <vt:lpstr>Garamond</vt:lpstr>
      <vt:lpstr>Source Sans Pro</vt:lpstr>
      <vt:lpstr>12 - Präsentation</vt:lpstr>
      <vt:lpstr>think-cell Folie</vt:lpstr>
      <vt:lpstr>Berufsbegleitende  Teilzeitausbildung zur staatl. anerkannten Erzieherin / zum staatl. anerkannten Erzieher </vt:lpstr>
      <vt:lpstr>Unsere Teilzeitausbildung  - „TZ“</vt:lpstr>
      <vt:lpstr>Ziel</vt:lpstr>
      <vt:lpstr>Zugang zur FakS</vt:lpstr>
      <vt:lpstr>Ausbildungsweg mit (Fach-)Abitur oder einer abgeschlossenen Berufsausbildung</vt:lpstr>
      <vt:lpstr>NEU</vt:lpstr>
      <vt:lpstr>Unterrichtszeiten der TZ</vt:lpstr>
      <vt:lpstr>PowerPoint-Präsentation</vt:lpstr>
      <vt:lpstr>PowerPoint-Präsentation</vt:lpstr>
      <vt:lpstr>3 Jahre theoretische Ausbildung - Fächer</vt:lpstr>
      <vt:lpstr>Das Fach SPP – Sozialpädagogische Praxis – begleitet Ihre Praxistätigkeit </vt:lpstr>
      <vt:lpstr>Das Fach SPP – Sozialpädagogische Praxis – begleitet Ihre Praxistätigkeit </vt:lpstr>
      <vt:lpstr>Specials der TZ</vt:lpstr>
      <vt:lpstr>Specials der TZ</vt:lpstr>
      <vt:lpstr>Specials der TZ</vt:lpstr>
      <vt:lpstr> Wir freuen uns auf Ihre aussagekräftige Bewerbung.  Kontaktieren Sie uns gerne bei Fragen zur Teilzeitausbildung!</vt:lpstr>
    </vt:vector>
  </TitlesOfParts>
  <Company>Dioezese Augsb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an Hoertrich</dc:creator>
  <cp:lastModifiedBy>Anita Pauli</cp:lastModifiedBy>
  <cp:revision>48</cp:revision>
  <cp:lastPrinted>2017-03-30T06:50:14Z</cp:lastPrinted>
  <dcterms:created xsi:type="dcterms:W3CDTF">2020-04-03T14:10:35Z</dcterms:created>
  <dcterms:modified xsi:type="dcterms:W3CDTF">2025-09-22T13:55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4D3D632641B040838921D2112A5ACE</vt:lpwstr>
  </property>
  <property fmtid="{D5CDD505-2E9C-101B-9397-08002B2CF9AE}" pid="3" name="MediaServiceImageTags">
    <vt:lpwstr/>
  </property>
</Properties>
</file>